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9"/>
  </p:notesMasterIdLst>
  <p:sldIdLst>
    <p:sldId id="256" r:id="rId2"/>
    <p:sldId id="257" r:id="rId3"/>
    <p:sldId id="261" r:id="rId4"/>
    <p:sldId id="258" r:id="rId5"/>
    <p:sldId id="263" r:id="rId6"/>
    <p:sldId id="262" r:id="rId7"/>
    <p:sldId id="260" r:id="rId8"/>
  </p:sldIdLst>
  <p:sldSz cx="12192000" cy="6858000"/>
  <p:notesSz cx="6858000" cy="9144000"/>
  <p:custDataLst>
    <p:tags r:id="rId10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761FDB1-8A67-4015-9CD7-471D86978AB4}">
          <p14:sldIdLst>
            <p14:sldId id="256"/>
            <p14:sldId id="257"/>
          </p14:sldIdLst>
        </p14:section>
        <p14:section name="I. Contexto &amp; objetivos" id="{A0C73F99-BFCD-43B8-B132-19A0DD57DB9A}">
          <p14:sldIdLst>
            <p14:sldId id="261"/>
          </p14:sldIdLst>
        </p14:section>
        <p14:section name="II. Metodología" id="{2F8448AE-C13D-4AC5-A970-B03178332B9E}">
          <p14:sldIdLst>
            <p14:sldId id="258"/>
          </p14:sldIdLst>
        </p14:section>
        <p14:section name="III. Resultados" id="{4F44CEB7-AD7B-4810-B8CF-358C301CD99A}">
          <p14:sldIdLst>
            <p14:sldId id="263"/>
          </p14:sldIdLst>
        </p14:section>
        <p14:section name="IV. Conclusiones" id="{124BA27B-1B96-4907-A4F6-EF4853A335E6}">
          <p14:sldIdLst>
            <p14:sldId id="262"/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an Viladomiu Tora" initials="JVT" lastIdx="1" clrIdx="0">
    <p:extLst>
      <p:ext uri="{19B8F6BF-5375-455C-9EA6-DF929625EA0E}">
        <p15:presenceInfo xmlns:p15="http://schemas.microsoft.com/office/powerpoint/2012/main" userId="S::Joan.Viladomiu.Tora@es.ey.com::769a1043-f370-4a5b-a0e1-4e76db6339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5C4FF"/>
    <a:srgbClr val="32C3FF"/>
    <a:srgbClr val="4D728D"/>
    <a:srgbClr val="646464"/>
    <a:srgbClr val="AAB3B9"/>
    <a:srgbClr val="B1C1CE"/>
    <a:srgbClr val="A6A6A6"/>
    <a:srgbClr val="BCBCBC"/>
    <a:srgbClr val="CAD5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DBED3F-20CA-4426-AECD-938338EED86E}" v="19" dt="2022-12-22T16:20:43.115"/>
    <p1510:client id="{B914494A-F278-4C75-B5BF-52D7B31E87BB}" v="5376" dt="2022-12-22T15:43:59.45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4878" autoAdjust="0"/>
  </p:normalViewPr>
  <p:slideViewPr>
    <p:cSldViewPr showGuides="1">
      <p:cViewPr varScale="1">
        <p:scale>
          <a:sx n="78" d="100"/>
          <a:sy n="78" d="100"/>
        </p:scale>
        <p:origin x="25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an Viladomiu Tora" userId="769a1043-f370-4a5b-a0e1-4e76db633912" providerId="ADAL" clId="{B914494A-F278-4C75-B5BF-52D7B31E87BB}"/>
    <pc:docChg chg="undo redo custSel addSld delSld modSld sldOrd delMainMaster modMainMaster addSection delSection modSection modNotesMaster">
      <pc:chgData name="Joan Viladomiu Tora" userId="769a1043-f370-4a5b-a0e1-4e76db633912" providerId="ADAL" clId="{B914494A-F278-4C75-B5BF-52D7B31E87BB}" dt="2022-12-22T15:43:53.588" v="14032" actId="20577"/>
      <pc:docMkLst>
        <pc:docMk/>
      </pc:docMkLst>
      <pc:sldChg chg="addSp modSp new add mod chgLayout modNotes">
        <pc:chgData name="Joan Viladomiu Tora" userId="769a1043-f370-4a5b-a0e1-4e76db633912" providerId="ADAL" clId="{B914494A-F278-4C75-B5BF-52D7B31E87BB}" dt="2022-12-17T14:36:01.780" v="3030" actId="313"/>
        <pc:sldMkLst>
          <pc:docMk/>
          <pc:sldMk cId="4084014076" sldId="256"/>
        </pc:sldMkLst>
        <pc:spChg chg="add mod">
          <ac:chgData name="Joan Viladomiu Tora" userId="769a1043-f370-4a5b-a0e1-4e76db633912" providerId="ADAL" clId="{B914494A-F278-4C75-B5BF-52D7B31E87BB}" dt="2022-12-17T12:15:56.291" v="3005" actId="1076"/>
          <ac:spMkLst>
            <pc:docMk/>
            <pc:sldMk cId="4084014076" sldId="256"/>
            <ac:spMk id="2" creationId="{7CA50B6A-DE85-4B6D-A098-0AD5843A9A74}"/>
          </ac:spMkLst>
        </pc:spChg>
        <pc:spChg chg="add mod">
          <ac:chgData name="Joan Viladomiu Tora" userId="769a1043-f370-4a5b-a0e1-4e76db633912" providerId="ADAL" clId="{B914494A-F278-4C75-B5BF-52D7B31E87BB}" dt="2022-12-17T12:15:19.073" v="2998" actId="1076"/>
          <ac:spMkLst>
            <pc:docMk/>
            <pc:sldMk cId="4084014076" sldId="256"/>
            <ac:spMk id="3" creationId="{935173E3-A3D0-40A8-98AA-6B8066A584EB}"/>
          </ac:spMkLst>
        </pc:spChg>
        <pc:spChg chg="add mod">
          <ac:chgData name="Joan Viladomiu Tora" userId="769a1043-f370-4a5b-a0e1-4e76db633912" providerId="ADAL" clId="{B914494A-F278-4C75-B5BF-52D7B31E87BB}" dt="2022-12-17T14:36:01.780" v="3030" actId="313"/>
          <ac:spMkLst>
            <pc:docMk/>
            <pc:sldMk cId="4084014076" sldId="256"/>
            <ac:spMk id="5" creationId="{8AA444FC-394E-4B76-9269-C7FA543E1514}"/>
          </ac:spMkLst>
        </pc:spChg>
        <pc:graphicFrameChg chg="add mod ord modVis">
          <ac:chgData name="Joan Viladomiu Tora" userId="769a1043-f370-4a5b-a0e1-4e76db633912" providerId="ADAL" clId="{B914494A-F278-4C75-B5BF-52D7B31E87BB}" dt="2022-12-17T11:31:22.285" v="2388" actId="1076"/>
          <ac:graphicFrameMkLst>
            <pc:docMk/>
            <pc:sldMk cId="4084014076" sldId="256"/>
            <ac:graphicFrameMk id="4" creationId="{4F0E93C7-7374-4642-B987-F4FECF78982C}"/>
          </ac:graphicFrameMkLst>
        </pc:graphicFrameChg>
      </pc:sldChg>
      <pc:sldChg chg="addSp delSp modSp new add mod modClrScheme chgLayout modNotes">
        <pc:chgData name="Joan Viladomiu Tora" userId="769a1043-f370-4a5b-a0e1-4e76db633912" providerId="ADAL" clId="{B914494A-F278-4C75-B5BF-52D7B31E87BB}" dt="2022-12-22T15:43:53.588" v="14032" actId="20577"/>
        <pc:sldMkLst>
          <pc:docMk/>
          <pc:sldMk cId="1981284675" sldId="257"/>
        </pc:sldMkLst>
        <pc:spChg chg="del mod ord">
          <ac:chgData name="Joan Viladomiu Tora" userId="769a1043-f370-4a5b-a0e1-4e76db633912" providerId="ADAL" clId="{B914494A-F278-4C75-B5BF-52D7B31E87BB}" dt="2022-12-06T15:53:42.664" v="161"/>
          <ac:spMkLst>
            <pc:docMk/>
            <pc:sldMk cId="1981284675" sldId="257"/>
            <ac:spMk id="2" creationId="{450ED662-D278-4FC4-A0EF-D90E5A041BE5}"/>
          </ac:spMkLst>
        </pc:spChg>
        <pc:spChg chg="add del mod">
          <ac:chgData name="Joan Viladomiu Tora" userId="769a1043-f370-4a5b-a0e1-4e76db633912" providerId="ADAL" clId="{B914494A-F278-4C75-B5BF-52D7B31E87BB}" dt="2022-12-17T14:46:55.134" v="4813" actId="478"/>
          <ac:spMkLst>
            <pc:docMk/>
            <pc:sldMk cId="1981284675" sldId="257"/>
            <ac:spMk id="2" creationId="{4A740989-5363-4063-8E68-D08C8ED71F09}"/>
          </ac:spMkLst>
        </pc:spChg>
        <pc:spChg chg="add mod ord">
          <ac:chgData name="Joan Viladomiu Tora" userId="769a1043-f370-4a5b-a0e1-4e76db633912" providerId="ADAL" clId="{B914494A-F278-4C75-B5BF-52D7B31E87BB}" dt="2022-12-21T22:28:02.149" v="7707"/>
          <ac:spMkLst>
            <pc:docMk/>
            <pc:sldMk cId="1981284675" sldId="257"/>
            <ac:spMk id="3" creationId="{EAFFC853-3152-416C-8C98-D3A291F725F1}"/>
          </ac:spMkLst>
        </pc:spChg>
        <pc:spChg chg="add del mod">
          <ac:chgData name="Joan Viladomiu Tora" userId="769a1043-f370-4a5b-a0e1-4e76db633912" providerId="ADAL" clId="{B914494A-F278-4C75-B5BF-52D7B31E87BB}" dt="2022-12-17T14:46:55.134" v="4813" actId="478"/>
          <ac:spMkLst>
            <pc:docMk/>
            <pc:sldMk cId="1981284675" sldId="257"/>
            <ac:spMk id="5" creationId="{6D6255B9-3161-4665-8EAE-C50A41992017}"/>
          </ac:spMkLst>
        </pc:spChg>
        <pc:spChg chg="add mod ord">
          <ac:chgData name="Joan Viladomiu Tora" userId="769a1043-f370-4a5b-a0e1-4e76db633912" providerId="ADAL" clId="{B914494A-F278-4C75-B5BF-52D7B31E87BB}" dt="2022-12-21T22:29:02.940" v="7729" actId="1076"/>
          <ac:spMkLst>
            <pc:docMk/>
            <pc:sldMk cId="1981284675" sldId="257"/>
            <ac:spMk id="6" creationId="{72E75176-351B-49B7-9345-6B0912011C6D}"/>
          </ac:spMkLst>
        </pc:spChg>
        <pc:spChg chg="add del mod">
          <ac:chgData name="Joan Viladomiu Tora" userId="769a1043-f370-4a5b-a0e1-4e76db633912" providerId="ADAL" clId="{B914494A-F278-4C75-B5BF-52D7B31E87BB}" dt="2022-12-17T14:46:55.134" v="4813" actId="478"/>
          <ac:spMkLst>
            <pc:docMk/>
            <pc:sldMk cId="1981284675" sldId="257"/>
            <ac:spMk id="6" creationId="{F1849BB3-07BA-4A43-8C05-07B684D2FDA6}"/>
          </ac:spMkLst>
        </pc:spChg>
        <pc:spChg chg="add del mod">
          <ac:chgData name="Joan Viladomiu Tora" userId="769a1043-f370-4a5b-a0e1-4e76db633912" providerId="ADAL" clId="{B914494A-F278-4C75-B5BF-52D7B31E87BB}" dt="2022-12-17T14:46:55.134" v="4813" actId="478"/>
          <ac:spMkLst>
            <pc:docMk/>
            <pc:sldMk cId="1981284675" sldId="257"/>
            <ac:spMk id="7" creationId="{B60DE1E8-4264-405D-88D0-13294B7575F0}"/>
          </ac:spMkLst>
        </pc:spChg>
        <pc:spChg chg="add del mod">
          <ac:chgData name="Joan Viladomiu Tora" userId="769a1043-f370-4a5b-a0e1-4e76db633912" providerId="ADAL" clId="{B914494A-F278-4C75-B5BF-52D7B31E87BB}" dt="2022-12-17T14:46:49.867" v="4812" actId="478"/>
          <ac:spMkLst>
            <pc:docMk/>
            <pc:sldMk cId="1981284675" sldId="257"/>
            <ac:spMk id="8" creationId="{157B111C-8D86-4E4C-84B5-5A4999CEAC8C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9" creationId="{C0709DF2-8F3A-49A7-9F9D-95DB2D04370B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0" creationId="{893FE0AA-997C-4BDB-8457-29D089790FF3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1" creationId="{A271A8A5-7F3F-4EC1-9DBB-A5AE7F153E05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2" creationId="{7D81144C-DC2A-495B-B768-F5BC57123641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3" creationId="{E092BFAB-DA8B-41A0-ADCD-AA4EAED0F109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4" creationId="{B92D3672-CA02-43C1-A86D-DAB7D5F25DC8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5" creationId="{339ACC22-2459-43AB-9B13-305DC3A8A06E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6" creationId="{C0E9DB69-8048-4F51-8037-EF8101128D94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7" creationId="{65C7568B-6E31-452E-A391-E2ADFB5B19DF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8" creationId="{AC33E028-4395-40D7-8136-8195341F079E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19" creationId="{26A91949-E1F2-4A73-AC06-2B52B0744C5A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0" creationId="{3A92A1DD-EB17-470B-95E7-5DE28BCDDB75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1" creationId="{D4FF6B1B-856F-4867-A469-27ABD249C7BD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2" creationId="{7A77E8E6-7F56-4954-9D6E-ADF5E9CFD943}"/>
          </ac:spMkLst>
        </pc:spChg>
        <pc:spChg chg="add mod ord">
          <ac:chgData name="Joan Viladomiu Tora" userId="769a1043-f370-4a5b-a0e1-4e76db633912" providerId="ADAL" clId="{B914494A-F278-4C75-B5BF-52D7B31E87BB}" dt="2022-12-21T22:29:02.940" v="7729" actId="1076"/>
          <ac:spMkLst>
            <pc:docMk/>
            <pc:sldMk cId="1981284675" sldId="257"/>
            <ac:spMk id="23" creationId="{4D097337-DEFB-40F6-B2A8-512AB0CEFA67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3" creationId="{6A807E7E-2D91-416E-BF7C-64C24ED18913}"/>
          </ac:spMkLst>
        </pc:spChg>
        <pc:spChg chg="add mod ord">
          <ac:chgData name="Joan Viladomiu Tora" userId="769a1043-f370-4a5b-a0e1-4e76db633912" providerId="ADAL" clId="{B914494A-F278-4C75-B5BF-52D7B31E87BB}" dt="2022-12-21T22:29:02.940" v="7729" actId="1076"/>
          <ac:spMkLst>
            <pc:docMk/>
            <pc:sldMk cId="1981284675" sldId="257"/>
            <ac:spMk id="24" creationId="{2CF47303-341F-47D4-9B06-878C82F3760A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4" creationId="{7CB8EACE-D332-48A0-8B0F-99D1CFD0965C}"/>
          </ac:spMkLst>
        </pc:spChg>
        <pc:spChg chg="add mod ord">
          <ac:chgData name="Joan Viladomiu Tora" userId="769a1043-f370-4a5b-a0e1-4e76db633912" providerId="ADAL" clId="{B914494A-F278-4C75-B5BF-52D7B31E87BB}" dt="2022-12-21T22:29:02.940" v="7729" actId="1076"/>
          <ac:spMkLst>
            <pc:docMk/>
            <pc:sldMk cId="1981284675" sldId="257"/>
            <ac:spMk id="25" creationId="{965F0AEE-2DBA-4389-95AD-BBDF32471416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5" creationId="{CE5A00FE-4190-49AC-8778-881FC2B4E742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6" creationId="{C10CB98D-6BA4-4B1A-9AAA-AB1830ACF832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7" creationId="{40500DFF-FE7D-49AA-BB40-C8E418C5067D}"/>
          </ac:spMkLst>
        </pc:spChg>
        <pc:spChg chg="add del mod ord topLvl">
          <ac:chgData name="Joan Viladomiu Tora" userId="769a1043-f370-4a5b-a0e1-4e76db633912" providerId="ADAL" clId="{B914494A-F278-4C75-B5BF-52D7B31E87BB}" dt="2022-12-17T15:04:52.182" v="5177" actId="478"/>
          <ac:spMkLst>
            <pc:docMk/>
            <pc:sldMk cId="1981284675" sldId="257"/>
            <ac:spMk id="28" creationId="{FC74F891-DDEE-4F22-978A-B301E4ED0FB7}"/>
          </ac:spMkLst>
        </pc:spChg>
        <pc:spChg chg="add del mod">
          <ac:chgData name="Joan Viladomiu Tora" userId="769a1043-f370-4a5b-a0e1-4e76db633912" providerId="ADAL" clId="{B914494A-F278-4C75-B5BF-52D7B31E87BB}" dt="2022-12-17T14:46:47.204" v="4811" actId="478"/>
          <ac:spMkLst>
            <pc:docMk/>
            <pc:sldMk cId="1981284675" sldId="257"/>
            <ac:spMk id="29" creationId="{9A083A7F-C8F9-4E16-8002-F5ECAF2227E4}"/>
          </ac:spMkLst>
        </pc:spChg>
        <pc:spChg chg="add del mod">
          <ac:chgData name="Joan Viladomiu Tora" userId="769a1043-f370-4a5b-a0e1-4e76db633912" providerId="ADAL" clId="{B914494A-F278-4C75-B5BF-52D7B31E87BB}" dt="2022-12-17T14:46:47.204" v="4811" actId="478"/>
          <ac:spMkLst>
            <pc:docMk/>
            <pc:sldMk cId="1981284675" sldId="257"/>
            <ac:spMk id="30" creationId="{7B266216-EE70-431E-84C2-DF04E1868AFD}"/>
          </ac:spMkLst>
        </pc:spChg>
        <pc:spChg chg="add del mod topLvl">
          <ac:chgData name="Joan Viladomiu Tora" userId="769a1043-f370-4a5b-a0e1-4e76db633912" providerId="ADAL" clId="{B914494A-F278-4C75-B5BF-52D7B31E87BB}" dt="2022-12-17T14:47:06.388" v="4816" actId="478"/>
          <ac:spMkLst>
            <pc:docMk/>
            <pc:sldMk cId="1981284675" sldId="257"/>
            <ac:spMk id="31" creationId="{96343A03-535A-49C2-A09A-8BB854F8B7CB}"/>
          </ac:spMkLst>
        </pc:spChg>
        <pc:spChg chg="add del mod">
          <ac:chgData name="Joan Viladomiu Tora" userId="769a1043-f370-4a5b-a0e1-4e76db633912" providerId="ADAL" clId="{B914494A-F278-4C75-B5BF-52D7B31E87BB}" dt="2022-12-17T14:46:47.204" v="4811" actId="478"/>
          <ac:spMkLst>
            <pc:docMk/>
            <pc:sldMk cId="1981284675" sldId="257"/>
            <ac:spMk id="32" creationId="{B7BB3114-1D3A-4EC3-80DC-1B74C4C3EF21}"/>
          </ac:spMkLst>
        </pc:spChg>
        <pc:spChg chg="add del mod ord">
          <ac:chgData name="Joan Viladomiu Tora" userId="769a1043-f370-4a5b-a0e1-4e76db633912" providerId="ADAL" clId="{B914494A-F278-4C75-B5BF-52D7B31E87BB}" dt="2022-12-17T14:51:28.431" v="4927" actId="478"/>
          <ac:spMkLst>
            <pc:docMk/>
            <pc:sldMk cId="1981284675" sldId="257"/>
            <ac:spMk id="35" creationId="{15088AE6-3E57-41CF-83A3-475A866B2CEE}"/>
          </ac:spMkLst>
        </pc:spChg>
        <pc:spChg chg="add mod ord topLvl">
          <ac:chgData name="Joan Viladomiu Tora" userId="769a1043-f370-4a5b-a0e1-4e76db633912" providerId="ADAL" clId="{B914494A-F278-4C75-B5BF-52D7B31E87BB}" dt="2022-12-21T22:29:02.940" v="7729" actId="1076"/>
          <ac:spMkLst>
            <pc:docMk/>
            <pc:sldMk cId="1981284675" sldId="257"/>
            <ac:spMk id="37" creationId="{78A17C94-D833-4CE5-A36A-47971A718787}"/>
          </ac:spMkLst>
        </pc:spChg>
        <pc:spChg chg="add mod ord topLvl">
          <ac:chgData name="Joan Viladomiu Tora" userId="769a1043-f370-4a5b-a0e1-4e76db633912" providerId="ADAL" clId="{B914494A-F278-4C75-B5BF-52D7B31E87BB}" dt="2022-12-21T22:29:02.940" v="7729" actId="1076"/>
          <ac:spMkLst>
            <pc:docMk/>
            <pc:sldMk cId="1981284675" sldId="257"/>
            <ac:spMk id="38" creationId="{A3CE8737-DE54-4F9B-AA84-871CA62E775E}"/>
          </ac:spMkLst>
        </pc:spChg>
        <pc:spChg chg="add mod ord topLvl">
          <ac:chgData name="Joan Viladomiu Tora" userId="769a1043-f370-4a5b-a0e1-4e76db633912" providerId="ADAL" clId="{B914494A-F278-4C75-B5BF-52D7B31E87BB}" dt="2022-12-22T15:43:53.588" v="14032" actId="20577"/>
          <ac:spMkLst>
            <pc:docMk/>
            <pc:sldMk cId="1981284675" sldId="257"/>
            <ac:spMk id="39" creationId="{7D12657B-39ED-4107-B3A3-C22665CE29CD}"/>
          </ac:spMkLst>
        </pc:spChg>
        <pc:spChg chg="add mod topLvl">
          <ac:chgData name="Joan Viladomiu Tora" userId="769a1043-f370-4a5b-a0e1-4e76db633912" providerId="ADAL" clId="{B914494A-F278-4C75-B5BF-52D7B31E87BB}" dt="2022-12-21T19:34:25.016" v="7339" actId="165"/>
          <ac:spMkLst>
            <pc:docMk/>
            <pc:sldMk cId="1981284675" sldId="257"/>
            <ac:spMk id="40" creationId="{2AF130AE-9634-4B1A-BD76-F91D274FA7FD}"/>
          </ac:spMkLst>
        </pc:spChg>
        <pc:spChg chg="add mod ord topLvl">
          <ac:chgData name="Joan Viladomiu Tora" userId="769a1043-f370-4a5b-a0e1-4e76db633912" providerId="ADAL" clId="{B914494A-F278-4C75-B5BF-52D7B31E87BB}" dt="2022-12-21T22:29:02.940" v="7729" actId="1076"/>
          <ac:spMkLst>
            <pc:docMk/>
            <pc:sldMk cId="1981284675" sldId="257"/>
            <ac:spMk id="41" creationId="{2D9AA5CC-A185-44DF-B870-DA2DC1F819A1}"/>
          </ac:spMkLst>
        </pc:spChg>
        <pc:spChg chg="add mod ord topLvl">
          <ac:chgData name="Joan Viladomiu Tora" userId="769a1043-f370-4a5b-a0e1-4e76db633912" providerId="ADAL" clId="{B914494A-F278-4C75-B5BF-52D7B31E87BB}" dt="2022-12-21T22:29:31.788" v="7736" actId="20577"/>
          <ac:spMkLst>
            <pc:docMk/>
            <pc:sldMk cId="1981284675" sldId="257"/>
            <ac:spMk id="43" creationId="{DF83FDE7-C0CF-426C-8BFE-2C9395FCD1F1}"/>
          </ac:spMkLst>
        </pc:spChg>
        <pc:spChg chg="add mod topLvl">
          <ac:chgData name="Joan Viladomiu Tora" userId="769a1043-f370-4a5b-a0e1-4e76db633912" providerId="ADAL" clId="{B914494A-F278-4C75-B5BF-52D7B31E87BB}" dt="2022-12-21T19:34:25.016" v="7339" actId="165"/>
          <ac:spMkLst>
            <pc:docMk/>
            <pc:sldMk cId="1981284675" sldId="257"/>
            <ac:spMk id="44" creationId="{921DD1DC-CE4D-4065-BC47-F747FD8DA28C}"/>
          </ac:spMkLst>
        </pc:spChg>
        <pc:spChg chg="add mod ord topLvl">
          <ac:chgData name="Joan Viladomiu Tora" userId="769a1043-f370-4a5b-a0e1-4e76db633912" providerId="ADAL" clId="{B914494A-F278-4C75-B5BF-52D7B31E87BB}" dt="2022-12-21T22:29:31.275" v="7735" actId="20577"/>
          <ac:spMkLst>
            <pc:docMk/>
            <pc:sldMk cId="1981284675" sldId="257"/>
            <ac:spMk id="45" creationId="{4C2BEE10-6B61-43B2-A5E8-5C5ADD5DBC38}"/>
          </ac:spMkLst>
        </pc:spChg>
        <pc:spChg chg="add mod ord topLvl">
          <ac:chgData name="Joan Viladomiu Tora" userId="769a1043-f370-4a5b-a0e1-4e76db633912" providerId="ADAL" clId="{B914494A-F278-4C75-B5BF-52D7B31E87BB}" dt="2022-12-21T22:29:33.068" v="7737" actId="20577"/>
          <ac:spMkLst>
            <pc:docMk/>
            <pc:sldMk cId="1981284675" sldId="257"/>
            <ac:spMk id="46" creationId="{360FF63A-F9C4-438E-A5AB-EE9F8E57B812}"/>
          </ac:spMkLst>
        </pc:spChg>
        <pc:spChg chg="add mod ord topLvl">
          <ac:chgData name="Joan Viladomiu Tora" userId="769a1043-f370-4a5b-a0e1-4e76db633912" providerId="ADAL" clId="{B914494A-F278-4C75-B5BF-52D7B31E87BB}" dt="2022-12-21T22:29:30.846" v="7734" actId="20577"/>
          <ac:spMkLst>
            <pc:docMk/>
            <pc:sldMk cId="1981284675" sldId="257"/>
            <ac:spMk id="47" creationId="{C6493AA4-1D3F-42F9-BC86-7CCACE9D4BBF}"/>
          </ac:spMkLst>
        </pc:spChg>
        <pc:grpChg chg="add del mod">
          <ac:chgData name="Joan Viladomiu Tora" userId="769a1043-f370-4a5b-a0e1-4e76db633912" providerId="ADAL" clId="{B914494A-F278-4C75-B5BF-52D7B31E87BB}" dt="2022-12-21T19:34:56.145" v="7349" actId="165"/>
          <ac:grpSpMkLst>
            <pc:docMk/>
            <pc:sldMk cId="1981284675" sldId="257"/>
            <ac:grpSpMk id="2" creationId="{68AD35CB-BD24-4194-B71C-ED9792E83E92}"/>
          </ac:grpSpMkLst>
        </pc:grpChg>
        <pc:grpChg chg="add del mod">
          <ac:chgData name="Joan Viladomiu Tora" userId="769a1043-f370-4a5b-a0e1-4e76db633912" providerId="ADAL" clId="{B914494A-F278-4C75-B5BF-52D7B31E87BB}" dt="2022-12-21T22:24:42.340" v="7621" actId="165"/>
          <ac:grpSpMkLst>
            <pc:docMk/>
            <pc:sldMk cId="1981284675" sldId="257"/>
            <ac:grpSpMk id="5" creationId="{2664693F-4EB8-471C-8184-025F6AB6AA01}"/>
          </ac:grpSpMkLst>
        </pc:grpChg>
        <pc:grpChg chg="add del mod">
          <ac:chgData name="Joan Viladomiu Tora" userId="769a1043-f370-4a5b-a0e1-4e76db633912" providerId="ADAL" clId="{B914494A-F278-4C75-B5BF-52D7B31E87BB}" dt="2022-12-17T14:47:04.248" v="4815" actId="165"/>
          <ac:grpSpMkLst>
            <pc:docMk/>
            <pc:sldMk cId="1981284675" sldId="257"/>
            <ac:grpSpMk id="33" creationId="{21DDAB0B-7EC6-43FE-986D-893DE68B5516}"/>
          </ac:grpSpMkLst>
        </pc:grpChg>
        <pc:grpChg chg="add del mod">
          <ac:chgData name="Joan Viladomiu Tora" userId="769a1043-f370-4a5b-a0e1-4e76db633912" providerId="ADAL" clId="{B914494A-F278-4C75-B5BF-52D7B31E87BB}" dt="2022-12-17T14:47:12.169" v="4819" actId="165"/>
          <ac:grpSpMkLst>
            <pc:docMk/>
            <pc:sldMk cId="1981284675" sldId="257"/>
            <ac:grpSpMk id="34" creationId="{EFEA640C-514F-4BCD-930B-BCC218273171}"/>
          </ac:grpSpMkLst>
        </pc:grpChg>
        <pc:grpChg chg="add del mod">
          <ac:chgData name="Joan Viladomiu Tora" userId="769a1043-f370-4a5b-a0e1-4e76db633912" providerId="ADAL" clId="{B914494A-F278-4C75-B5BF-52D7B31E87BB}" dt="2022-12-17T15:06:26.484" v="5216" actId="165"/>
          <ac:grpSpMkLst>
            <pc:docMk/>
            <pc:sldMk cId="1981284675" sldId="257"/>
            <ac:grpSpMk id="42" creationId="{D0E7D389-80FC-4135-8956-76D8CAE6557D}"/>
          </ac:grpSpMkLst>
        </pc:grpChg>
        <pc:grpChg chg="add del mod topLvl">
          <ac:chgData name="Joan Viladomiu Tora" userId="769a1043-f370-4a5b-a0e1-4e76db633912" providerId="ADAL" clId="{B914494A-F278-4C75-B5BF-52D7B31E87BB}" dt="2022-12-17T15:09:11.724" v="5248" actId="165"/>
          <ac:grpSpMkLst>
            <pc:docMk/>
            <pc:sldMk cId="1981284675" sldId="257"/>
            <ac:grpSpMk id="48" creationId="{26E9396A-82FF-46C5-84A5-FBB025C9CEFC}"/>
          </ac:grpSpMkLst>
        </pc:grpChg>
        <pc:grpChg chg="add del mod topLvl">
          <ac:chgData name="Joan Viladomiu Tora" userId="769a1043-f370-4a5b-a0e1-4e76db633912" providerId="ADAL" clId="{B914494A-F278-4C75-B5BF-52D7B31E87BB}" dt="2022-12-17T15:09:11.724" v="5248" actId="165"/>
          <ac:grpSpMkLst>
            <pc:docMk/>
            <pc:sldMk cId="1981284675" sldId="257"/>
            <ac:grpSpMk id="49" creationId="{0AD0C025-6301-4D5F-8927-E7F94D4EFD83}"/>
          </ac:grpSpMkLst>
        </pc:grpChg>
        <pc:grpChg chg="add del mod topLvl">
          <ac:chgData name="Joan Viladomiu Tora" userId="769a1043-f370-4a5b-a0e1-4e76db633912" providerId="ADAL" clId="{B914494A-F278-4C75-B5BF-52D7B31E87BB}" dt="2022-12-17T15:09:11.724" v="5248" actId="165"/>
          <ac:grpSpMkLst>
            <pc:docMk/>
            <pc:sldMk cId="1981284675" sldId="257"/>
            <ac:grpSpMk id="50" creationId="{FD5921C7-6D86-49EF-A050-E06D33E9A343}"/>
          </ac:grpSpMkLst>
        </pc:grpChg>
        <pc:grpChg chg="add del mod topLvl">
          <ac:chgData name="Joan Viladomiu Tora" userId="769a1043-f370-4a5b-a0e1-4e76db633912" providerId="ADAL" clId="{B914494A-F278-4C75-B5BF-52D7B31E87BB}" dt="2022-12-17T15:09:11.724" v="5248" actId="165"/>
          <ac:grpSpMkLst>
            <pc:docMk/>
            <pc:sldMk cId="1981284675" sldId="257"/>
            <ac:grpSpMk id="51" creationId="{A1963EEE-EA2B-4CF7-A934-4DE1A941B4C2}"/>
          </ac:grpSpMkLst>
        </pc:grpChg>
        <pc:grpChg chg="add del mod topLvl">
          <ac:chgData name="Joan Viladomiu Tora" userId="769a1043-f370-4a5b-a0e1-4e76db633912" providerId="ADAL" clId="{B914494A-F278-4C75-B5BF-52D7B31E87BB}" dt="2022-12-17T15:09:11.724" v="5248" actId="165"/>
          <ac:grpSpMkLst>
            <pc:docMk/>
            <pc:sldMk cId="1981284675" sldId="257"/>
            <ac:grpSpMk id="52" creationId="{5FED548B-F67A-4039-B6BA-AD0748171512}"/>
          </ac:grpSpMkLst>
        </pc:grpChg>
        <pc:grpChg chg="add del mod">
          <ac:chgData name="Joan Viladomiu Tora" userId="769a1043-f370-4a5b-a0e1-4e76db633912" providerId="ADAL" clId="{B914494A-F278-4C75-B5BF-52D7B31E87BB}" dt="2022-12-17T15:09:10.704" v="5247" actId="165"/>
          <ac:grpSpMkLst>
            <pc:docMk/>
            <pc:sldMk cId="1981284675" sldId="257"/>
            <ac:grpSpMk id="53" creationId="{64384B5B-4ADA-4C78-BE9A-AD798D7343D7}"/>
          </ac:grpSpMkLst>
        </pc:grpChg>
        <pc:grpChg chg="add del mod">
          <ac:chgData name="Joan Viladomiu Tora" userId="769a1043-f370-4a5b-a0e1-4e76db633912" providerId="ADAL" clId="{B914494A-F278-4C75-B5BF-52D7B31E87BB}" dt="2022-12-17T15:09:17.131" v="5250" actId="165"/>
          <ac:grpSpMkLst>
            <pc:docMk/>
            <pc:sldMk cId="1981284675" sldId="257"/>
            <ac:grpSpMk id="54" creationId="{3D53C177-322A-40BA-A57E-40D6D15E3BCF}"/>
          </ac:grpSpMkLst>
        </pc:grpChg>
        <pc:grpChg chg="add del mod topLvl">
          <ac:chgData name="Joan Viladomiu Tora" userId="769a1043-f370-4a5b-a0e1-4e76db633912" providerId="ADAL" clId="{B914494A-F278-4C75-B5BF-52D7B31E87BB}" dt="2022-12-21T22:22:19.690" v="7601" actId="165"/>
          <ac:grpSpMkLst>
            <pc:docMk/>
            <pc:sldMk cId="1981284675" sldId="257"/>
            <ac:grpSpMk id="55" creationId="{CBBAF30F-E6B3-4076-BDFD-67565844BAD8}"/>
          </ac:grpSpMkLst>
        </pc:grpChg>
        <pc:grpChg chg="add del mod topLvl">
          <ac:chgData name="Joan Viladomiu Tora" userId="769a1043-f370-4a5b-a0e1-4e76db633912" providerId="ADAL" clId="{B914494A-F278-4C75-B5BF-52D7B31E87BB}" dt="2022-12-21T22:22:19.690" v="7601" actId="165"/>
          <ac:grpSpMkLst>
            <pc:docMk/>
            <pc:sldMk cId="1981284675" sldId="257"/>
            <ac:grpSpMk id="56" creationId="{1A814315-0357-49A3-81B4-A6A54ED1D707}"/>
          </ac:grpSpMkLst>
        </pc:grpChg>
        <pc:grpChg chg="add del mod topLvl">
          <ac:chgData name="Joan Viladomiu Tora" userId="769a1043-f370-4a5b-a0e1-4e76db633912" providerId="ADAL" clId="{B914494A-F278-4C75-B5BF-52D7B31E87BB}" dt="2022-12-21T19:34:36.062" v="7341" actId="478"/>
          <ac:grpSpMkLst>
            <pc:docMk/>
            <pc:sldMk cId="1981284675" sldId="257"/>
            <ac:grpSpMk id="57" creationId="{ECDBAD0A-8496-40E5-9E4F-A4B6370E7F6F}"/>
          </ac:grpSpMkLst>
        </pc:grpChg>
        <pc:grpChg chg="add del mod topLvl">
          <ac:chgData name="Joan Viladomiu Tora" userId="769a1043-f370-4a5b-a0e1-4e76db633912" providerId="ADAL" clId="{B914494A-F278-4C75-B5BF-52D7B31E87BB}" dt="2022-12-21T22:22:19.690" v="7601" actId="165"/>
          <ac:grpSpMkLst>
            <pc:docMk/>
            <pc:sldMk cId="1981284675" sldId="257"/>
            <ac:grpSpMk id="58" creationId="{396BC8F1-E254-4960-8A0C-6CF151251370}"/>
          </ac:grpSpMkLst>
        </pc:grpChg>
        <pc:grpChg chg="add del mod topLvl">
          <ac:chgData name="Joan Viladomiu Tora" userId="769a1043-f370-4a5b-a0e1-4e76db633912" providerId="ADAL" clId="{B914494A-F278-4C75-B5BF-52D7B31E87BB}" dt="2022-12-21T22:22:19.690" v="7601" actId="165"/>
          <ac:grpSpMkLst>
            <pc:docMk/>
            <pc:sldMk cId="1981284675" sldId="257"/>
            <ac:grpSpMk id="59" creationId="{94ED820E-81D8-41D8-9B40-16DCB83D6441}"/>
          </ac:grpSpMkLst>
        </pc:grpChg>
        <pc:grpChg chg="add del mod">
          <ac:chgData name="Joan Viladomiu Tora" userId="769a1043-f370-4a5b-a0e1-4e76db633912" providerId="ADAL" clId="{B914494A-F278-4C75-B5BF-52D7B31E87BB}" dt="2022-12-21T19:34:25.016" v="7339" actId="165"/>
          <ac:grpSpMkLst>
            <pc:docMk/>
            <pc:sldMk cId="1981284675" sldId="257"/>
            <ac:grpSpMk id="60" creationId="{54882020-F99E-4C72-8DA0-FD5228D16566}"/>
          </ac:grpSpMkLst>
        </pc:grpChg>
        <pc:graphicFrameChg chg="add mod ord modVis">
          <ac:chgData name="Joan Viladomiu Tora" userId="769a1043-f370-4a5b-a0e1-4e76db633912" providerId="ADAL" clId="{B914494A-F278-4C75-B5BF-52D7B31E87BB}" dt="2022-12-21T22:28:02.170" v="7725"/>
          <ac:graphicFrameMkLst>
            <pc:docMk/>
            <pc:sldMk cId="1981284675" sldId="257"/>
            <ac:graphicFrameMk id="4" creationId="{637DE2E9-A32B-4253-BD3A-484BBC42BC88}"/>
          </ac:graphicFrameMkLst>
        </pc:graphicFrameChg>
        <pc:graphicFrameChg chg="add del mod modGraphic">
          <ac:chgData name="Joan Viladomiu Tora" userId="769a1043-f370-4a5b-a0e1-4e76db633912" providerId="ADAL" clId="{B914494A-F278-4C75-B5BF-52D7B31E87BB}" dt="2022-12-17T15:04:41.640" v="5176" actId="478"/>
          <ac:graphicFrameMkLst>
            <pc:docMk/>
            <pc:sldMk cId="1981284675" sldId="257"/>
            <ac:graphicFrameMk id="36" creationId="{01F6717A-EDA3-4D3C-8867-0B0484A79498}"/>
          </ac:graphicFrameMkLst>
        </pc:graphicFrameChg>
      </pc:sldChg>
      <pc:sldChg chg="addSp delSp modSp add mod modTransition modShow modNotes modNotesTx">
        <pc:chgData name="Joan Viladomiu Tora" userId="769a1043-f370-4a5b-a0e1-4e76db633912" providerId="ADAL" clId="{B914494A-F278-4C75-B5BF-52D7B31E87BB}" dt="2022-12-22T15:18:47.006" v="13263" actId="6549"/>
        <pc:sldMkLst>
          <pc:docMk/>
          <pc:sldMk cId="4013041889" sldId="258"/>
        </pc:sldMkLst>
        <pc:spChg chg="add del mod modVis">
          <ac:chgData name="Joan Viladomiu Tora" userId="769a1043-f370-4a5b-a0e1-4e76db633912" providerId="ADAL" clId="{B914494A-F278-4C75-B5BF-52D7B31E87BB}" dt="2022-12-17T11:29:32.033" v="1284"/>
          <ac:spMkLst>
            <pc:docMk/>
            <pc:sldMk cId="4013041889" sldId="258"/>
            <ac:spMk id="2" creationId="{1E8B44F1-D08D-441A-89AB-FE108953AB9C}"/>
          </ac:spMkLst>
        </pc:spChg>
        <pc:spChg chg="add del mod modVis">
          <ac:chgData name="Joan Viladomiu Tora" userId="769a1043-f370-4a5b-a0e1-4e76db633912" providerId="ADAL" clId="{B914494A-F278-4C75-B5BF-52D7B31E87BB}" dt="2022-12-21T22:52:47.559" v="8240"/>
          <ac:spMkLst>
            <pc:docMk/>
            <pc:sldMk cId="4013041889" sldId="258"/>
            <ac:spMk id="2" creationId="{6C4DC0F6-6D9C-445C-B5AC-D7E3731F36C6}"/>
          </ac:spMkLst>
        </pc:spChg>
        <pc:spChg chg="mod ord">
          <ac:chgData name="Joan Viladomiu Tora" userId="769a1043-f370-4a5b-a0e1-4e76db633912" providerId="ADAL" clId="{B914494A-F278-4C75-B5BF-52D7B31E87BB}" dt="2022-12-21T22:52:50.165" v="8247"/>
          <ac:spMkLst>
            <pc:docMk/>
            <pc:sldMk cId="4013041889" sldId="258"/>
            <ac:spMk id="3" creationId="{EAFFC853-3152-416C-8C98-D3A291F725F1}"/>
          </ac:spMkLst>
        </pc:spChg>
        <pc:spChg chg="add mod">
          <ac:chgData name="Joan Viladomiu Tora" userId="769a1043-f370-4a5b-a0e1-4e76db633912" providerId="ADAL" clId="{B914494A-F278-4C75-B5BF-52D7B31E87BB}" dt="2022-12-22T15:15:19.441" v="12844" actId="1076"/>
          <ac:spMkLst>
            <pc:docMk/>
            <pc:sldMk cId="4013041889" sldId="258"/>
            <ac:spMk id="5" creationId="{6CED5907-CF9A-428F-BA49-EDF0320B9811}"/>
          </ac:spMkLst>
        </pc:spChg>
        <pc:spChg chg="add del mod modVis">
          <ac:chgData name="Joan Viladomiu Tora" userId="769a1043-f370-4a5b-a0e1-4e76db633912" providerId="ADAL" clId="{B914494A-F278-4C75-B5BF-52D7B31E87BB}" dt="2022-12-17T11:29:33.304" v="1328"/>
          <ac:spMkLst>
            <pc:docMk/>
            <pc:sldMk cId="4013041889" sldId="258"/>
            <ac:spMk id="5" creationId="{7EC99CC3-FAC2-49A5-BD98-6FC013DB2526}"/>
          </ac:spMkLst>
        </pc:spChg>
        <pc:spChg chg="add del mod modVis">
          <ac:chgData name="Joan Viladomiu Tora" userId="769a1043-f370-4a5b-a0e1-4e76db633912" providerId="ADAL" clId="{B914494A-F278-4C75-B5BF-52D7B31E87BB}" dt="2022-12-17T11:29:42.203" v="1370"/>
          <ac:spMkLst>
            <pc:docMk/>
            <pc:sldMk cId="4013041889" sldId="258"/>
            <ac:spMk id="6" creationId="{10CA122D-7487-4D11-B019-2064D6673545}"/>
          </ac:spMkLst>
        </pc:spChg>
        <pc:spChg chg="add del mod modVis">
          <ac:chgData name="Joan Viladomiu Tora" userId="769a1043-f370-4a5b-a0e1-4e76db633912" providerId="ADAL" clId="{B914494A-F278-4C75-B5BF-52D7B31E87BB}" dt="2022-12-17T11:29:49.863" v="1413"/>
          <ac:spMkLst>
            <pc:docMk/>
            <pc:sldMk cId="4013041889" sldId="258"/>
            <ac:spMk id="7" creationId="{32033CB2-878E-4C66-979F-4F42BF42D4C0}"/>
          </ac:spMkLst>
        </pc:spChg>
        <pc:spChg chg="add del mod modVis">
          <ac:chgData name="Joan Viladomiu Tora" userId="769a1043-f370-4a5b-a0e1-4e76db633912" providerId="ADAL" clId="{B914494A-F278-4C75-B5BF-52D7B31E87BB}" dt="2022-12-17T11:30:49.624" v="1456"/>
          <ac:spMkLst>
            <pc:docMk/>
            <pc:sldMk cId="4013041889" sldId="258"/>
            <ac:spMk id="8" creationId="{FC987471-AC88-4809-BFD7-A571AA7FD176}"/>
          </ac:spMkLst>
        </pc:spChg>
        <pc:spChg chg="add del mod modVis">
          <ac:chgData name="Joan Viladomiu Tora" userId="769a1043-f370-4a5b-a0e1-4e76db633912" providerId="ADAL" clId="{B914494A-F278-4C75-B5BF-52D7B31E87BB}" dt="2022-12-17T11:30:52.544" v="1509"/>
          <ac:spMkLst>
            <pc:docMk/>
            <pc:sldMk cId="4013041889" sldId="258"/>
            <ac:spMk id="9" creationId="{35AD3368-9853-4A32-94BD-D36580CAE8C3}"/>
          </ac:spMkLst>
        </pc:spChg>
        <pc:spChg chg="add del mod ord">
          <ac:chgData name="Joan Viladomiu Tora" userId="769a1043-f370-4a5b-a0e1-4e76db633912" providerId="ADAL" clId="{B914494A-F278-4C75-B5BF-52D7B31E87BB}" dt="2022-12-22T08:55:27.150" v="8702" actId="478"/>
          <ac:spMkLst>
            <pc:docMk/>
            <pc:sldMk cId="4013041889" sldId="258"/>
            <ac:spMk id="9" creationId="{A265E744-6A90-4AF4-BD06-3B7FB9AF82CC}"/>
          </ac:spMkLst>
        </pc:spChg>
        <pc:spChg chg="add del mod modVis">
          <ac:chgData name="Joan Viladomiu Tora" userId="769a1043-f370-4a5b-a0e1-4e76db633912" providerId="ADAL" clId="{B914494A-F278-4C75-B5BF-52D7B31E87BB}" dt="2022-12-17T11:30:54.420" v="1559"/>
          <ac:spMkLst>
            <pc:docMk/>
            <pc:sldMk cId="4013041889" sldId="258"/>
            <ac:spMk id="10" creationId="{7572B0E1-E037-4F07-A18A-0A3B4BC8D70C}"/>
          </ac:spMkLst>
        </pc:spChg>
        <pc:spChg chg="add del mod">
          <ac:chgData name="Joan Viladomiu Tora" userId="769a1043-f370-4a5b-a0e1-4e76db633912" providerId="ADAL" clId="{B914494A-F278-4C75-B5BF-52D7B31E87BB}" dt="2022-12-21T22:45:44.075" v="8102" actId="478"/>
          <ac:spMkLst>
            <pc:docMk/>
            <pc:sldMk cId="4013041889" sldId="258"/>
            <ac:spMk id="10" creationId="{EE52918D-A350-46DB-9289-E2A6F16DF19A}"/>
          </ac:spMkLst>
        </pc:spChg>
        <pc:spChg chg="add del mod modVis">
          <ac:chgData name="Joan Viladomiu Tora" userId="769a1043-f370-4a5b-a0e1-4e76db633912" providerId="ADAL" clId="{B914494A-F278-4C75-B5BF-52D7B31E87BB}" dt="2022-12-17T11:30:55.852" v="1603"/>
          <ac:spMkLst>
            <pc:docMk/>
            <pc:sldMk cId="4013041889" sldId="258"/>
            <ac:spMk id="11" creationId="{C3B23F74-1899-4EAA-BE27-BC11F3F1866A}"/>
          </ac:spMkLst>
        </pc:spChg>
        <pc:spChg chg="add del mod">
          <ac:chgData name="Joan Viladomiu Tora" userId="769a1043-f370-4a5b-a0e1-4e76db633912" providerId="ADAL" clId="{B914494A-F278-4C75-B5BF-52D7B31E87BB}" dt="2022-12-21T22:50:12.025" v="8117" actId="478"/>
          <ac:spMkLst>
            <pc:docMk/>
            <pc:sldMk cId="4013041889" sldId="258"/>
            <ac:spMk id="11" creationId="{EF979CD5-E8E3-4611-8A9C-0279B809D81F}"/>
          </ac:spMkLst>
        </pc:spChg>
        <pc:spChg chg="del mod modVis">
          <ac:chgData name="Joan Viladomiu Tora" userId="769a1043-f370-4a5b-a0e1-4e76db633912" providerId="ADAL" clId="{B914494A-F278-4C75-B5BF-52D7B31E87BB}" dt="2022-12-17T11:31:16.842" v="1871" actId="478"/>
          <ac:spMkLst>
            <pc:docMk/>
            <pc:sldMk cId="4013041889" sldId="258"/>
            <ac:spMk id="12" creationId="{C9DA232D-CDFA-43FC-A722-7F64E6BFA145}"/>
          </ac:spMkLst>
        </pc:spChg>
        <pc:spChg chg="add mod ord">
          <ac:chgData name="Joan Viladomiu Tora" userId="769a1043-f370-4a5b-a0e1-4e76db633912" providerId="ADAL" clId="{B914494A-F278-4C75-B5BF-52D7B31E87BB}" dt="2022-12-22T13:41:10.029" v="10464" actId="12789"/>
          <ac:spMkLst>
            <pc:docMk/>
            <pc:sldMk cId="4013041889" sldId="258"/>
            <ac:spMk id="12" creationId="{DC3F8E6E-393E-42AC-BF37-5219D4FD146C}"/>
          </ac:spMkLst>
        </pc:spChg>
        <pc:spChg chg="add del mod">
          <ac:chgData name="Joan Viladomiu Tora" userId="769a1043-f370-4a5b-a0e1-4e76db633912" providerId="ADAL" clId="{B914494A-F278-4C75-B5BF-52D7B31E87BB}" dt="2022-12-21T22:48:34.617" v="8111" actId="478"/>
          <ac:spMkLst>
            <pc:docMk/>
            <pc:sldMk cId="4013041889" sldId="258"/>
            <ac:spMk id="13" creationId="{38894961-9D45-4E1E-ADC0-CB77E77ACA33}"/>
          </ac:spMkLst>
        </pc:spChg>
        <pc:spChg chg="add del mod">
          <ac:chgData name="Joan Viladomiu Tora" userId="769a1043-f370-4a5b-a0e1-4e76db633912" providerId="ADAL" clId="{B914494A-F278-4C75-B5BF-52D7B31E87BB}" dt="2022-12-22T13:39:08.082" v="10313" actId="478"/>
          <ac:spMkLst>
            <pc:docMk/>
            <pc:sldMk cId="4013041889" sldId="258"/>
            <ac:spMk id="13" creationId="{3C9CDF2D-3906-4062-98A0-97C761618C50}"/>
          </ac:spMkLst>
        </pc:spChg>
        <pc:spChg chg="del mod modVis">
          <ac:chgData name="Joan Viladomiu Tora" userId="769a1043-f370-4a5b-a0e1-4e76db633912" providerId="ADAL" clId="{B914494A-F278-4C75-B5BF-52D7B31E87BB}" dt="2022-12-17T11:31:19.704" v="2130" actId="478"/>
          <ac:spMkLst>
            <pc:docMk/>
            <pc:sldMk cId="4013041889" sldId="258"/>
            <ac:spMk id="13" creationId="{438FC42D-D89A-4F81-BE72-1A6B2CE2A823}"/>
          </ac:spMkLst>
        </pc:spChg>
        <pc:spChg chg="del mod modVis">
          <ac:chgData name="Joan Viladomiu Tora" userId="769a1043-f370-4a5b-a0e1-4e76db633912" providerId="ADAL" clId="{B914494A-F278-4C75-B5BF-52D7B31E87BB}" dt="2022-12-17T11:31:22.288" v="2389" actId="478"/>
          <ac:spMkLst>
            <pc:docMk/>
            <pc:sldMk cId="4013041889" sldId="258"/>
            <ac:spMk id="14" creationId="{21EA03BB-E7FD-4581-B135-6D1B53D8AAC2}"/>
          </ac:spMkLst>
        </pc:spChg>
        <pc:spChg chg="add mod ord">
          <ac:chgData name="Joan Viladomiu Tora" userId="769a1043-f370-4a5b-a0e1-4e76db633912" providerId="ADAL" clId="{B914494A-F278-4C75-B5BF-52D7B31E87BB}" dt="2022-12-22T13:33:29.728" v="10047" actId="12788"/>
          <ac:spMkLst>
            <pc:docMk/>
            <pc:sldMk cId="4013041889" sldId="258"/>
            <ac:spMk id="14" creationId="{6C9B7F3B-D7AF-4245-8989-D1DA9AD681BF}"/>
          </ac:spMkLst>
        </pc:spChg>
        <pc:spChg chg="add del mod modVis">
          <ac:chgData name="Joan Viladomiu Tora" userId="769a1043-f370-4a5b-a0e1-4e76db633912" providerId="ADAL" clId="{B914494A-F278-4C75-B5BF-52D7B31E87BB}" dt="2022-12-17T14:38:28.479" v="3377"/>
          <ac:spMkLst>
            <pc:docMk/>
            <pc:sldMk cId="4013041889" sldId="258"/>
            <ac:spMk id="15" creationId="{C1DB7EF5-7BC5-42FF-A4D2-1A0058A9E2FB}"/>
          </ac:spMkLst>
        </pc:spChg>
        <pc:spChg chg="add del mod">
          <ac:chgData name="Joan Viladomiu Tora" userId="769a1043-f370-4a5b-a0e1-4e76db633912" providerId="ADAL" clId="{B914494A-F278-4C75-B5BF-52D7B31E87BB}" dt="2022-12-21T22:51:52.270" v="8171" actId="478"/>
          <ac:spMkLst>
            <pc:docMk/>
            <pc:sldMk cId="4013041889" sldId="258"/>
            <ac:spMk id="15" creationId="{D446D3A5-BC85-440E-AE71-C289FF657AC0}"/>
          </ac:spMkLst>
        </pc:spChg>
        <pc:spChg chg="add del mod">
          <ac:chgData name="Joan Viladomiu Tora" userId="769a1043-f370-4a5b-a0e1-4e76db633912" providerId="ADAL" clId="{B914494A-F278-4C75-B5BF-52D7B31E87BB}" dt="2022-12-22T13:39:08.082" v="10313" actId="478"/>
          <ac:spMkLst>
            <pc:docMk/>
            <pc:sldMk cId="4013041889" sldId="258"/>
            <ac:spMk id="15" creationId="{E9543531-B56C-4B70-9C09-862441D04005}"/>
          </ac:spMkLst>
        </pc:spChg>
        <pc:spChg chg="add mod">
          <ac:chgData name="Joan Viladomiu Tora" userId="769a1043-f370-4a5b-a0e1-4e76db633912" providerId="ADAL" clId="{B914494A-F278-4C75-B5BF-52D7B31E87BB}" dt="2022-12-22T14:59:42.882" v="12822" actId="20577"/>
          <ac:spMkLst>
            <pc:docMk/>
            <pc:sldMk cId="4013041889" sldId="258"/>
            <ac:spMk id="16" creationId="{C11A2902-CC37-4E59-9CA8-ED9802C3B041}"/>
          </ac:spMkLst>
        </pc:spChg>
        <pc:spChg chg="add del mod modVis">
          <ac:chgData name="Joan Viladomiu Tora" userId="769a1043-f370-4a5b-a0e1-4e76db633912" providerId="ADAL" clId="{B914494A-F278-4C75-B5BF-52D7B31E87BB}" dt="2022-12-17T14:40:36.646" v="4370"/>
          <ac:spMkLst>
            <pc:docMk/>
            <pc:sldMk cId="4013041889" sldId="258"/>
            <ac:spMk id="16" creationId="{DA833835-F1A6-4BBE-A477-ADEE7CBA849E}"/>
          </ac:spMkLst>
        </pc:spChg>
        <pc:spChg chg="add del mod">
          <ac:chgData name="Joan Viladomiu Tora" userId="769a1043-f370-4a5b-a0e1-4e76db633912" providerId="ADAL" clId="{B914494A-F278-4C75-B5BF-52D7B31E87BB}" dt="2022-12-21T22:51:52.270" v="8171" actId="478"/>
          <ac:spMkLst>
            <pc:docMk/>
            <pc:sldMk cId="4013041889" sldId="258"/>
            <ac:spMk id="16" creationId="{DE042BE2-3E30-4733-BD0F-0108A21A7040}"/>
          </ac:spMkLst>
        </pc:spChg>
        <pc:spChg chg="add del mod">
          <ac:chgData name="Joan Viladomiu Tora" userId="769a1043-f370-4a5b-a0e1-4e76db633912" providerId="ADAL" clId="{B914494A-F278-4C75-B5BF-52D7B31E87BB}" dt="2022-12-21T22:52:35.537" v="8182" actId="478"/>
          <ac:spMkLst>
            <pc:docMk/>
            <pc:sldMk cId="4013041889" sldId="258"/>
            <ac:spMk id="17" creationId="{A41024C2-D507-4549-AD77-09B286CE3919}"/>
          </ac:spMkLst>
        </pc:spChg>
        <pc:spChg chg="add del mod">
          <ac:chgData name="Joan Viladomiu Tora" userId="769a1043-f370-4a5b-a0e1-4e76db633912" providerId="ADAL" clId="{B914494A-F278-4C75-B5BF-52D7B31E87BB}" dt="2022-12-22T12:25:48.464" v="9741" actId="478"/>
          <ac:spMkLst>
            <pc:docMk/>
            <pc:sldMk cId="4013041889" sldId="258"/>
            <ac:spMk id="17" creationId="{AAD29EC8-6B03-41F1-AF10-60B99701CDC3}"/>
          </ac:spMkLst>
        </pc:spChg>
        <pc:spChg chg="add del mod modVis">
          <ac:chgData name="Joan Viladomiu Tora" userId="769a1043-f370-4a5b-a0e1-4e76db633912" providerId="ADAL" clId="{B914494A-F278-4C75-B5BF-52D7B31E87BB}" dt="2022-12-17T14:40:37.478" v="4414"/>
          <ac:spMkLst>
            <pc:docMk/>
            <pc:sldMk cId="4013041889" sldId="258"/>
            <ac:spMk id="17" creationId="{C1E152F1-9F03-4D2B-8E12-C638BAAAF634}"/>
          </ac:spMkLst>
        </pc:spChg>
        <pc:spChg chg="add del mod ord">
          <ac:chgData name="Joan Viladomiu Tora" userId="769a1043-f370-4a5b-a0e1-4e76db633912" providerId="ADAL" clId="{B914494A-F278-4C75-B5BF-52D7B31E87BB}" dt="2022-12-21T22:53:36.984" v="8282" actId="478"/>
          <ac:spMkLst>
            <pc:docMk/>
            <pc:sldMk cId="4013041889" sldId="258"/>
            <ac:spMk id="18" creationId="{52F168D5-52DE-48FA-BC08-8ED6F4166797}"/>
          </ac:spMkLst>
        </pc:spChg>
        <pc:spChg chg="add mod">
          <ac:chgData name="Joan Viladomiu Tora" userId="769a1043-f370-4a5b-a0e1-4e76db633912" providerId="ADAL" clId="{B914494A-F278-4C75-B5BF-52D7B31E87BB}" dt="2022-12-22T13:41:10.029" v="10464" actId="12789"/>
          <ac:spMkLst>
            <pc:docMk/>
            <pc:sldMk cId="4013041889" sldId="258"/>
            <ac:spMk id="18" creationId="{5C4CF7D3-29E2-4030-8F99-AB989975CE0E}"/>
          </ac:spMkLst>
        </pc:spChg>
        <pc:spChg chg="add mod">
          <ac:chgData name="Joan Viladomiu Tora" userId="769a1043-f370-4a5b-a0e1-4e76db633912" providerId="ADAL" clId="{B914494A-F278-4C75-B5BF-52D7B31E87BB}" dt="2022-12-22T15:13:38.369" v="12838" actId="20577"/>
          <ac:spMkLst>
            <pc:docMk/>
            <pc:sldMk cId="4013041889" sldId="258"/>
            <ac:spMk id="19" creationId="{2AF5E77C-EBE5-4CE9-A669-1280B6B738BF}"/>
          </ac:spMkLst>
        </pc:spChg>
        <pc:spChg chg="add del mod ord">
          <ac:chgData name="Joan Viladomiu Tora" userId="769a1043-f370-4a5b-a0e1-4e76db633912" providerId="ADAL" clId="{B914494A-F278-4C75-B5BF-52D7B31E87BB}" dt="2022-12-21T22:53:11.467" v="8265" actId="478"/>
          <ac:spMkLst>
            <pc:docMk/>
            <pc:sldMk cId="4013041889" sldId="258"/>
            <ac:spMk id="19" creationId="{8386D5FC-A957-49E4-9B9C-ECA2204E754C}"/>
          </ac:spMkLst>
        </pc:spChg>
        <pc:spChg chg="add del mod">
          <ac:chgData name="Joan Viladomiu Tora" userId="769a1043-f370-4a5b-a0e1-4e76db633912" providerId="ADAL" clId="{B914494A-F278-4C75-B5BF-52D7B31E87BB}" dt="2022-12-22T13:36:34.037" v="10234" actId="478"/>
          <ac:spMkLst>
            <pc:docMk/>
            <pc:sldMk cId="4013041889" sldId="258"/>
            <ac:spMk id="20" creationId="{3C75D6EA-9A4F-4C4D-B747-C9AE416D4F2D}"/>
          </ac:spMkLst>
        </pc:spChg>
        <pc:spChg chg="add del mod">
          <ac:chgData name="Joan Viladomiu Tora" userId="769a1043-f370-4a5b-a0e1-4e76db633912" providerId="ADAL" clId="{B914494A-F278-4C75-B5BF-52D7B31E87BB}" dt="2022-12-21T22:52:35.537" v="8182" actId="478"/>
          <ac:spMkLst>
            <pc:docMk/>
            <pc:sldMk cId="4013041889" sldId="258"/>
            <ac:spMk id="20" creationId="{88001C85-6F84-4F00-B274-F74F3E0551DD}"/>
          </ac:spMkLst>
        </pc:spChg>
        <pc:spChg chg="add del mod modVis">
          <ac:chgData name="Joan Viladomiu Tora" userId="769a1043-f370-4a5b-a0e1-4e76db633912" providerId="ADAL" clId="{B914494A-F278-4C75-B5BF-52D7B31E87BB}" dt="2022-12-17T15:53:23.366" v="6376"/>
          <ac:spMkLst>
            <pc:docMk/>
            <pc:sldMk cId="4013041889" sldId="258"/>
            <ac:spMk id="20" creationId="{9EAC07BD-9DF8-4D9F-A156-EF994CDBEF1F}"/>
          </ac:spMkLst>
        </pc:spChg>
        <pc:spChg chg="add del mod ord">
          <ac:chgData name="Joan Viladomiu Tora" userId="769a1043-f370-4a5b-a0e1-4e76db633912" providerId="ADAL" clId="{B914494A-F278-4C75-B5BF-52D7B31E87BB}" dt="2022-12-22T13:39:04.831" v="10312" actId="478"/>
          <ac:spMkLst>
            <pc:docMk/>
            <pc:sldMk cId="4013041889" sldId="258"/>
            <ac:spMk id="21" creationId="{2AAC6F0C-1BA2-4121-A1E0-D75E407A58CB}"/>
          </ac:spMkLst>
        </pc:spChg>
        <pc:spChg chg="add del mod ord">
          <ac:chgData name="Joan Viladomiu Tora" userId="769a1043-f370-4a5b-a0e1-4e76db633912" providerId="ADAL" clId="{B914494A-F278-4C75-B5BF-52D7B31E87BB}" dt="2022-12-22T13:39:10.720" v="10314" actId="478"/>
          <ac:spMkLst>
            <pc:docMk/>
            <pc:sldMk cId="4013041889" sldId="258"/>
            <ac:spMk id="22" creationId="{AF83746A-3FD7-4EA6-8F7F-550152B72ADC}"/>
          </ac:spMkLst>
        </pc:spChg>
        <pc:spChg chg="add del mod ord">
          <ac:chgData name="Joan Viladomiu Tora" userId="769a1043-f370-4a5b-a0e1-4e76db633912" providerId="ADAL" clId="{B914494A-F278-4C75-B5BF-52D7B31E87BB}" dt="2022-12-22T13:39:04.831" v="10312" actId="478"/>
          <ac:spMkLst>
            <pc:docMk/>
            <pc:sldMk cId="4013041889" sldId="258"/>
            <ac:spMk id="23" creationId="{4CF3AAEA-2CE5-4DB8-88E0-F63AC0048FAE}"/>
          </ac:spMkLst>
        </pc:spChg>
        <pc:spChg chg="add mod">
          <ac:chgData name="Joan Viladomiu Tora" userId="769a1043-f370-4a5b-a0e1-4e76db633912" providerId="ADAL" clId="{B914494A-F278-4C75-B5BF-52D7B31E87BB}" dt="2022-12-21T22:56:00.055" v="8300" actId="208"/>
          <ac:spMkLst>
            <pc:docMk/>
            <pc:sldMk cId="4013041889" sldId="258"/>
            <ac:spMk id="24" creationId="{6B138F60-C1C2-4ADD-99F0-40E43666CEE9}"/>
          </ac:spMkLst>
        </pc:spChg>
        <pc:spChg chg="add mod">
          <ac:chgData name="Joan Viladomiu Tora" userId="769a1043-f370-4a5b-a0e1-4e76db633912" providerId="ADAL" clId="{B914494A-F278-4C75-B5BF-52D7B31E87BB}" dt="2022-12-21T22:55:45.915" v="8299" actId="208"/>
          <ac:spMkLst>
            <pc:docMk/>
            <pc:sldMk cId="4013041889" sldId="258"/>
            <ac:spMk id="25" creationId="{569D8DF6-66C2-4DE5-8C3E-0B1E55F0A771}"/>
          </ac:spMkLst>
        </pc:spChg>
        <pc:spChg chg="add del mod">
          <ac:chgData name="Joan Viladomiu Tora" userId="769a1043-f370-4a5b-a0e1-4e76db633912" providerId="ADAL" clId="{B914494A-F278-4C75-B5BF-52D7B31E87BB}" dt="2022-12-22T12:27:11.499" v="9852" actId="478"/>
          <ac:spMkLst>
            <pc:docMk/>
            <pc:sldMk cId="4013041889" sldId="258"/>
            <ac:spMk id="26" creationId="{D7E10C90-04B7-479F-B0F5-FE68E2DD88A4}"/>
          </ac:spMkLst>
        </pc:spChg>
        <pc:spChg chg="add mod">
          <ac:chgData name="Joan Viladomiu Tora" userId="769a1043-f370-4a5b-a0e1-4e76db633912" providerId="ADAL" clId="{B914494A-F278-4C75-B5BF-52D7B31E87BB}" dt="2022-12-22T13:36:52.420" v="10239" actId="1076"/>
          <ac:spMkLst>
            <pc:docMk/>
            <pc:sldMk cId="4013041889" sldId="258"/>
            <ac:spMk id="27" creationId="{C56602C9-8102-4314-9A07-F07F853C1856}"/>
          </ac:spMkLst>
        </pc:spChg>
        <pc:spChg chg="add mod">
          <ac:chgData name="Joan Viladomiu Tora" userId="769a1043-f370-4a5b-a0e1-4e76db633912" providerId="ADAL" clId="{B914494A-F278-4C75-B5BF-52D7B31E87BB}" dt="2022-12-22T13:32:35.262" v="10026" actId="164"/>
          <ac:spMkLst>
            <pc:docMk/>
            <pc:sldMk cId="4013041889" sldId="258"/>
            <ac:spMk id="28" creationId="{8D9FC4E7-7634-45E5-A39D-D53AF0877A13}"/>
          </ac:spMkLst>
        </pc:spChg>
        <pc:grpChg chg="mod">
          <ac:chgData name="Joan Viladomiu Tora" userId="769a1043-f370-4a5b-a0e1-4e76db633912" providerId="ADAL" clId="{B914494A-F278-4C75-B5BF-52D7B31E87BB}" dt="2022-12-17T11:26:30.402" v="530"/>
          <ac:grpSpMkLst>
            <pc:docMk/>
            <pc:sldMk cId="4013041889" sldId="258"/>
            <ac:grpSpMk id="1" creationId="{00000000-0000-0000-0000-000000000000}"/>
          </ac:grpSpMkLst>
        </pc:grpChg>
        <pc:grpChg chg="add mod">
          <ac:chgData name="Joan Viladomiu Tora" userId="769a1043-f370-4a5b-a0e1-4e76db633912" providerId="ADAL" clId="{B914494A-F278-4C75-B5BF-52D7B31E87BB}" dt="2022-12-22T13:36:52.420" v="10239" actId="1076"/>
          <ac:grpSpMkLst>
            <pc:docMk/>
            <pc:sldMk cId="4013041889" sldId="258"/>
            <ac:grpSpMk id="2" creationId="{E86BE77D-BD19-4AB5-B4CE-E19C43FF7875}"/>
          </ac:grpSpMkLst>
        </pc:grpChg>
        <pc:graphicFrameChg chg="mod">
          <ac:chgData name="Joan Viladomiu Tora" userId="769a1043-f370-4a5b-a0e1-4e76db633912" providerId="ADAL" clId="{B914494A-F278-4C75-B5BF-52D7B31E87BB}" dt="2022-12-21T22:52:50.184" v="8263"/>
          <ac:graphicFrameMkLst>
            <pc:docMk/>
            <pc:sldMk cId="4013041889" sldId="258"/>
            <ac:graphicFrameMk id="4" creationId="{637DE2E9-A32B-4253-BD3A-484BBC42BC88}"/>
          </ac:graphicFrameMkLst>
        </pc:graphicFrameChg>
        <pc:cxnChg chg="add mod">
          <ac:chgData name="Joan Viladomiu Tora" userId="769a1043-f370-4a5b-a0e1-4e76db633912" providerId="ADAL" clId="{B914494A-F278-4C75-B5BF-52D7B31E87BB}" dt="2022-12-22T13:36:52.420" v="10239" actId="1076"/>
          <ac:cxnSpMkLst>
            <pc:docMk/>
            <pc:sldMk cId="4013041889" sldId="258"/>
            <ac:cxnSpMk id="29" creationId="{85473570-9A88-4C33-8CEF-AA484908C5B0}"/>
          </ac:cxnSpMkLst>
        </pc:cxnChg>
      </pc:sldChg>
      <pc:sldChg chg="addSp delSp modSp add del mod modNotes">
        <pc:chgData name="Joan Viladomiu Tora" userId="769a1043-f370-4a5b-a0e1-4e76db633912" providerId="ADAL" clId="{B914494A-F278-4C75-B5BF-52D7B31E87BB}" dt="2022-12-21T19:35:25.572" v="7356" actId="18676"/>
        <pc:sldMkLst>
          <pc:docMk/>
          <pc:sldMk cId="3040641830" sldId="259"/>
        </pc:sldMkLst>
        <pc:spChg chg="add del mod modVis">
          <ac:chgData name="Joan Viladomiu Tora" userId="769a1043-f370-4a5b-a0e1-4e76db633912" providerId="ADAL" clId="{B914494A-F278-4C75-B5BF-52D7B31E87BB}" dt="2022-12-17T14:38:54.317" v="3428"/>
          <ac:spMkLst>
            <pc:docMk/>
            <pc:sldMk cId="3040641830" sldId="259"/>
            <ac:spMk id="2" creationId="{1188EECA-0A48-458E-A594-4772D5CDAEB2}"/>
          </ac:spMkLst>
        </pc:spChg>
        <pc:spChg chg="mod">
          <ac:chgData name="Joan Viladomiu Tora" userId="769a1043-f370-4a5b-a0e1-4e76db633912" providerId="ADAL" clId="{B914494A-F278-4C75-B5BF-52D7B31E87BB}" dt="2022-12-17T14:40:42.218" v="4463" actId="948"/>
          <ac:spMkLst>
            <pc:docMk/>
            <pc:sldMk cId="3040641830" sldId="259"/>
            <ac:spMk id="3" creationId="{EAFFC853-3152-416C-8C98-D3A291F725F1}"/>
          </ac:spMkLst>
        </pc:spChg>
        <pc:spChg chg="add del mod modVis">
          <ac:chgData name="Joan Viladomiu Tora" userId="769a1043-f370-4a5b-a0e1-4e76db633912" providerId="ADAL" clId="{B914494A-F278-4C75-B5BF-52D7B31E87BB}" dt="2022-12-17T14:38:55.624" v="3473"/>
          <ac:spMkLst>
            <pc:docMk/>
            <pc:sldMk cId="3040641830" sldId="259"/>
            <ac:spMk id="5" creationId="{37CFF05F-8E77-43B5-8A65-D9FB33B8EC59}"/>
          </ac:spMkLst>
        </pc:spChg>
        <pc:spChg chg="add del mod modVis">
          <ac:chgData name="Joan Viladomiu Tora" userId="769a1043-f370-4a5b-a0e1-4e76db633912" providerId="ADAL" clId="{B914494A-F278-4C75-B5BF-52D7B31E87BB}" dt="2022-12-17T14:38:58.161" v="3528"/>
          <ac:spMkLst>
            <pc:docMk/>
            <pc:sldMk cId="3040641830" sldId="259"/>
            <ac:spMk id="6" creationId="{FD3DEC4E-D841-463B-92FD-81489CE5AF9B}"/>
          </ac:spMkLst>
        </pc:spChg>
        <pc:spChg chg="add del mod modVis">
          <ac:chgData name="Joan Viladomiu Tora" userId="769a1043-f370-4a5b-a0e1-4e76db633912" providerId="ADAL" clId="{B914494A-F278-4C75-B5BF-52D7B31E87BB}" dt="2022-12-17T14:38:58.607" v="3572"/>
          <ac:spMkLst>
            <pc:docMk/>
            <pc:sldMk cId="3040641830" sldId="259"/>
            <ac:spMk id="7" creationId="{75D4CFAC-CD54-4BA5-8C14-5A663EF3D134}"/>
          </ac:spMkLst>
        </pc:spChg>
        <pc:spChg chg="add del mod modVis">
          <ac:chgData name="Joan Viladomiu Tora" userId="769a1043-f370-4a5b-a0e1-4e76db633912" providerId="ADAL" clId="{B914494A-F278-4C75-B5BF-52D7B31E87BB}" dt="2022-12-17T14:39:02.505" v="3631"/>
          <ac:spMkLst>
            <pc:docMk/>
            <pc:sldMk cId="3040641830" sldId="259"/>
            <ac:spMk id="8" creationId="{28D77685-E1E9-4388-A6DF-E0E19111DE24}"/>
          </ac:spMkLst>
        </pc:spChg>
        <pc:spChg chg="add del mod modVis">
          <ac:chgData name="Joan Viladomiu Tora" userId="769a1043-f370-4a5b-a0e1-4e76db633912" providerId="ADAL" clId="{B914494A-F278-4C75-B5BF-52D7B31E87BB}" dt="2022-12-17T14:39:07.521" v="3709"/>
          <ac:spMkLst>
            <pc:docMk/>
            <pc:sldMk cId="3040641830" sldId="259"/>
            <ac:spMk id="9" creationId="{24DA96C9-89C9-44E8-B195-B3648ECE434E}"/>
          </ac:spMkLst>
        </pc:spChg>
        <pc:spChg chg="add del mod modVis">
          <ac:chgData name="Joan Viladomiu Tora" userId="769a1043-f370-4a5b-a0e1-4e76db633912" providerId="ADAL" clId="{B914494A-F278-4C75-B5BF-52D7B31E87BB}" dt="2022-12-17T14:39:08.295" v="3753"/>
          <ac:spMkLst>
            <pc:docMk/>
            <pc:sldMk cId="3040641830" sldId="259"/>
            <ac:spMk id="10" creationId="{2AE9EE72-4C43-4009-B9B4-C5EDC7AE2A1D}"/>
          </ac:spMkLst>
        </pc:spChg>
        <pc:spChg chg="add del mod modVis">
          <ac:chgData name="Joan Viladomiu Tora" userId="769a1043-f370-4a5b-a0e1-4e76db633912" providerId="ADAL" clId="{B914494A-F278-4C75-B5BF-52D7B31E87BB}" dt="2022-12-17T14:39:11.898" v="3813"/>
          <ac:spMkLst>
            <pc:docMk/>
            <pc:sldMk cId="3040641830" sldId="259"/>
            <ac:spMk id="11" creationId="{C95EC06E-8213-42CC-9255-305B280BBF14}"/>
          </ac:spMkLst>
        </pc:spChg>
        <pc:spChg chg="add del mod modVis">
          <ac:chgData name="Joan Viladomiu Tora" userId="769a1043-f370-4a5b-a0e1-4e76db633912" providerId="ADAL" clId="{B914494A-F278-4C75-B5BF-52D7B31E87BB}" dt="2022-12-17T14:39:12.867" v="3856"/>
          <ac:spMkLst>
            <pc:docMk/>
            <pc:sldMk cId="3040641830" sldId="259"/>
            <ac:spMk id="12" creationId="{1A24E874-559D-4EC6-81E0-DB3319EA98DF}"/>
          </ac:spMkLst>
        </pc:spChg>
        <pc:spChg chg="add del mod modVis">
          <ac:chgData name="Joan Viladomiu Tora" userId="769a1043-f370-4a5b-a0e1-4e76db633912" providerId="ADAL" clId="{B914494A-F278-4C75-B5BF-52D7B31E87BB}" dt="2022-12-17T14:39:15.204" v="3902"/>
          <ac:spMkLst>
            <pc:docMk/>
            <pc:sldMk cId="3040641830" sldId="259"/>
            <ac:spMk id="13" creationId="{8B37B2D7-E040-4EFC-9450-FFCE2FCD0990}"/>
          </ac:spMkLst>
        </pc:spChg>
        <pc:spChg chg="add del mod modVis">
          <ac:chgData name="Joan Viladomiu Tora" userId="769a1043-f370-4a5b-a0e1-4e76db633912" providerId="ADAL" clId="{B914494A-F278-4C75-B5BF-52D7B31E87BB}" dt="2022-12-17T14:39:16.375" v="3948"/>
          <ac:spMkLst>
            <pc:docMk/>
            <pc:sldMk cId="3040641830" sldId="259"/>
            <ac:spMk id="14" creationId="{DD6B0507-3337-4FC1-BF63-5300F31E64B3}"/>
          </ac:spMkLst>
        </pc:spChg>
        <pc:spChg chg="add del mod modVis">
          <ac:chgData name="Joan Viladomiu Tora" userId="769a1043-f370-4a5b-a0e1-4e76db633912" providerId="ADAL" clId="{B914494A-F278-4C75-B5BF-52D7B31E87BB}" dt="2022-12-17T14:39:28.669" v="3991"/>
          <ac:spMkLst>
            <pc:docMk/>
            <pc:sldMk cId="3040641830" sldId="259"/>
            <ac:spMk id="15" creationId="{047CAC29-6AA4-4880-8B02-552556DA9DBD}"/>
          </ac:spMkLst>
        </pc:spChg>
        <pc:spChg chg="add del mod modVis">
          <ac:chgData name="Joan Viladomiu Tora" userId="769a1043-f370-4a5b-a0e1-4e76db633912" providerId="ADAL" clId="{B914494A-F278-4C75-B5BF-52D7B31E87BB}" dt="2022-12-17T14:40:40.882" v="4457"/>
          <ac:spMkLst>
            <pc:docMk/>
            <pc:sldMk cId="3040641830" sldId="259"/>
            <ac:spMk id="16" creationId="{C753367A-09BA-49B5-8A4C-5B5CDA8FCCB8}"/>
          </ac:spMkLst>
        </pc:spChg>
        <pc:spChg chg="add del mod modVis">
          <ac:chgData name="Joan Viladomiu Tora" userId="769a1043-f370-4a5b-a0e1-4e76db633912" providerId="ADAL" clId="{B914494A-F278-4C75-B5BF-52D7B31E87BB}" dt="2022-12-17T14:40:42.292" v="4502"/>
          <ac:spMkLst>
            <pc:docMk/>
            <pc:sldMk cId="3040641830" sldId="259"/>
            <ac:spMk id="17" creationId="{305F11E0-9350-43F0-942B-D433B4237C3C}"/>
          </ac:spMkLst>
        </pc:spChg>
        <pc:spChg chg="add del mod">
          <ac:chgData name="Joan Viladomiu Tora" userId="769a1043-f370-4a5b-a0e1-4e76db633912" providerId="ADAL" clId="{B914494A-F278-4C75-B5BF-52D7B31E87BB}" dt="2022-12-21T19:35:04.801" v="7350" actId="21"/>
          <ac:spMkLst>
            <pc:docMk/>
            <pc:sldMk cId="3040641830" sldId="259"/>
            <ac:spMk id="19" creationId="{22E7BE48-FA42-4810-AE0D-ABC16452404D}"/>
          </ac:spMkLst>
        </pc:spChg>
        <pc:spChg chg="add del mod">
          <ac:chgData name="Joan Viladomiu Tora" userId="769a1043-f370-4a5b-a0e1-4e76db633912" providerId="ADAL" clId="{B914494A-F278-4C75-B5BF-52D7B31E87BB}" dt="2022-12-21T19:35:04.801" v="7350" actId="21"/>
          <ac:spMkLst>
            <pc:docMk/>
            <pc:sldMk cId="3040641830" sldId="259"/>
            <ac:spMk id="21" creationId="{8C48244F-145A-47C2-8EB1-3CB9C11E22F2}"/>
          </ac:spMkLst>
        </pc:spChg>
        <pc:spChg chg="add del mod">
          <ac:chgData name="Joan Viladomiu Tora" userId="769a1043-f370-4a5b-a0e1-4e76db633912" providerId="ADAL" clId="{B914494A-F278-4C75-B5BF-52D7B31E87BB}" dt="2022-12-21T19:35:04.801" v="7350" actId="21"/>
          <ac:spMkLst>
            <pc:docMk/>
            <pc:sldMk cId="3040641830" sldId="259"/>
            <ac:spMk id="22" creationId="{B9732552-58F9-40A5-BE7A-D6C48B2D0AC3}"/>
          </ac:spMkLst>
        </pc:spChg>
        <pc:spChg chg="add del mod">
          <ac:chgData name="Joan Viladomiu Tora" userId="769a1043-f370-4a5b-a0e1-4e76db633912" providerId="ADAL" clId="{B914494A-F278-4C75-B5BF-52D7B31E87BB}" dt="2022-12-21T19:35:04.801" v="7350" actId="21"/>
          <ac:spMkLst>
            <pc:docMk/>
            <pc:sldMk cId="3040641830" sldId="259"/>
            <ac:spMk id="24" creationId="{CA0321BA-BEA6-4BDD-A718-3B465CA0546C}"/>
          </ac:spMkLst>
        </pc:spChg>
        <pc:spChg chg="add mod">
          <ac:chgData name="Joan Viladomiu Tora" userId="769a1043-f370-4a5b-a0e1-4e76db633912" providerId="ADAL" clId="{B914494A-F278-4C75-B5BF-52D7B31E87BB}" dt="2022-12-17T16:44:35" v="6754" actId="571"/>
          <ac:spMkLst>
            <pc:docMk/>
            <pc:sldMk cId="3040641830" sldId="259"/>
            <ac:spMk id="25" creationId="{BFDB00D3-0C6F-4958-971A-69FE188A380D}"/>
          </ac:spMkLst>
        </pc:spChg>
        <pc:spChg chg="add mod">
          <ac:chgData name="Joan Viladomiu Tora" userId="769a1043-f370-4a5b-a0e1-4e76db633912" providerId="ADAL" clId="{B914494A-F278-4C75-B5BF-52D7B31E87BB}" dt="2022-12-17T16:44:35" v="6754" actId="571"/>
          <ac:spMkLst>
            <pc:docMk/>
            <pc:sldMk cId="3040641830" sldId="259"/>
            <ac:spMk id="26" creationId="{A8B70546-94EF-4A98-AF5A-B9C332306CF8}"/>
          </ac:spMkLst>
        </pc:spChg>
        <pc:spChg chg="add del mod">
          <ac:chgData name="Joan Viladomiu Tora" userId="769a1043-f370-4a5b-a0e1-4e76db633912" providerId="ADAL" clId="{B914494A-F278-4C75-B5BF-52D7B31E87BB}" dt="2022-12-21T19:35:04.801" v="7350" actId="21"/>
          <ac:spMkLst>
            <pc:docMk/>
            <pc:sldMk cId="3040641830" sldId="259"/>
            <ac:spMk id="27" creationId="{93672571-6A6A-4FC3-9D83-DF5D2CFD0AB0}"/>
          </ac:spMkLst>
        </pc:spChg>
        <pc:grpChg chg="mod">
          <ac:chgData name="Joan Viladomiu Tora" userId="769a1043-f370-4a5b-a0e1-4e76db633912" providerId="ADAL" clId="{B914494A-F278-4C75-B5BF-52D7B31E87BB}" dt="2022-12-17T11:26:30.913" v="532"/>
          <ac:grpSpMkLst>
            <pc:docMk/>
            <pc:sldMk cId="3040641830" sldId="259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914494A-F278-4C75-B5BF-52D7B31E87BB}" dt="2022-12-17T14:40:42.297" v="4504"/>
          <ac:graphicFrameMkLst>
            <pc:docMk/>
            <pc:sldMk cId="3040641830" sldId="259"/>
            <ac:graphicFrameMk id="4" creationId="{637DE2E9-A32B-4253-BD3A-484BBC42BC88}"/>
          </ac:graphicFrameMkLst>
        </pc:graphicFrameChg>
      </pc:sldChg>
      <pc:sldChg chg="addSp delSp modSp add mod modClrScheme chgLayout modNotes">
        <pc:chgData name="Joan Viladomiu Tora" userId="769a1043-f370-4a5b-a0e1-4e76db633912" providerId="ADAL" clId="{B914494A-F278-4C75-B5BF-52D7B31E87BB}" dt="2022-12-17T12:12:37.215" v="2974" actId="12788"/>
        <pc:sldMkLst>
          <pc:docMk/>
          <pc:sldMk cId="1758735073" sldId="260"/>
        </pc:sldMkLst>
        <pc:spChg chg="add del mod modVis">
          <ac:chgData name="Joan Viladomiu Tora" userId="769a1043-f370-4a5b-a0e1-4e76db633912" providerId="ADAL" clId="{B914494A-F278-4C75-B5BF-52D7B31E87BB}" dt="2022-12-17T11:27:03.957" v="628"/>
          <ac:spMkLst>
            <pc:docMk/>
            <pc:sldMk cId="1758735073" sldId="260"/>
            <ac:spMk id="2" creationId="{17146349-EFEB-4F1F-AF66-3B2B40463E03}"/>
          </ac:spMkLst>
        </pc:spChg>
        <pc:spChg chg="del mod ord">
          <ac:chgData name="Joan Viladomiu Tora" userId="769a1043-f370-4a5b-a0e1-4e76db633912" providerId="ADAL" clId="{B914494A-F278-4C75-B5BF-52D7B31E87BB}" dt="2022-12-17T12:12:22.137" v="2965" actId="478"/>
          <ac:spMkLst>
            <pc:docMk/>
            <pc:sldMk cId="1758735073" sldId="260"/>
            <ac:spMk id="3" creationId="{EAFFC853-3152-416C-8C98-D3A291F725F1}"/>
          </ac:spMkLst>
        </pc:spChg>
        <pc:spChg chg="add del mod modVis">
          <ac:chgData name="Joan Viladomiu Tora" userId="769a1043-f370-4a5b-a0e1-4e76db633912" providerId="ADAL" clId="{B914494A-F278-4C75-B5BF-52D7B31E87BB}" dt="2022-12-17T11:27:05.207" v="673"/>
          <ac:spMkLst>
            <pc:docMk/>
            <pc:sldMk cId="1758735073" sldId="260"/>
            <ac:spMk id="5" creationId="{0D37C483-D41D-4E13-A890-7AA05C42E2E3}"/>
          </ac:spMkLst>
        </pc:spChg>
        <pc:spChg chg="add del mod modVis">
          <ac:chgData name="Joan Viladomiu Tora" userId="769a1043-f370-4a5b-a0e1-4e76db633912" providerId="ADAL" clId="{B914494A-F278-4C75-B5BF-52D7B31E87BB}" dt="2022-12-17T11:27:06.372" v="721"/>
          <ac:spMkLst>
            <pc:docMk/>
            <pc:sldMk cId="1758735073" sldId="260"/>
            <ac:spMk id="6" creationId="{C270A037-CD16-4ABB-9942-BE52E6A1ACCB}"/>
          </ac:spMkLst>
        </pc:spChg>
        <pc:spChg chg="add del mod modVis">
          <ac:chgData name="Joan Viladomiu Tora" userId="769a1043-f370-4a5b-a0e1-4e76db633912" providerId="ADAL" clId="{B914494A-F278-4C75-B5BF-52D7B31E87BB}" dt="2022-12-17T11:27:07.839" v="768"/>
          <ac:spMkLst>
            <pc:docMk/>
            <pc:sldMk cId="1758735073" sldId="260"/>
            <ac:spMk id="7" creationId="{19DBD731-38AD-4627-8DD2-E1DC99EB4C07}"/>
          </ac:spMkLst>
        </pc:spChg>
        <pc:spChg chg="add del mod modVis">
          <ac:chgData name="Joan Viladomiu Tora" userId="769a1043-f370-4a5b-a0e1-4e76db633912" providerId="ADAL" clId="{B914494A-F278-4C75-B5BF-52D7B31E87BB}" dt="2022-12-17T11:27:08.857" v="812"/>
          <ac:spMkLst>
            <pc:docMk/>
            <pc:sldMk cId="1758735073" sldId="260"/>
            <ac:spMk id="8" creationId="{E95954AA-D32E-428F-8D55-71B7AEB34FAE}"/>
          </ac:spMkLst>
        </pc:spChg>
        <pc:spChg chg="add del mod modVis">
          <ac:chgData name="Joan Viladomiu Tora" userId="769a1043-f370-4a5b-a0e1-4e76db633912" providerId="ADAL" clId="{B914494A-F278-4C75-B5BF-52D7B31E87BB}" dt="2022-12-17T11:27:25.407" v="855"/>
          <ac:spMkLst>
            <pc:docMk/>
            <pc:sldMk cId="1758735073" sldId="260"/>
            <ac:spMk id="9" creationId="{28D75926-C3C4-4FC5-AF9A-B3B8EDDE7FF0}"/>
          </ac:spMkLst>
        </pc:spChg>
        <pc:spChg chg="add del mod modVis">
          <ac:chgData name="Joan Viladomiu Tora" userId="769a1043-f370-4a5b-a0e1-4e76db633912" providerId="ADAL" clId="{B914494A-F278-4C75-B5BF-52D7B31E87BB}" dt="2022-12-17T11:27:31.413" v="898"/>
          <ac:spMkLst>
            <pc:docMk/>
            <pc:sldMk cId="1758735073" sldId="260"/>
            <ac:spMk id="10" creationId="{41F74384-55DA-48B8-ADD0-26F2DDAD142F}"/>
          </ac:spMkLst>
        </pc:spChg>
        <pc:spChg chg="add del mod modVis">
          <ac:chgData name="Joan Viladomiu Tora" userId="769a1043-f370-4a5b-a0e1-4e76db633912" providerId="ADAL" clId="{B914494A-F278-4C75-B5BF-52D7B31E87BB}" dt="2022-12-17T11:27:36.661" v="941"/>
          <ac:spMkLst>
            <pc:docMk/>
            <pc:sldMk cId="1758735073" sldId="260"/>
            <ac:spMk id="11" creationId="{0C1FAA21-A7B2-494B-A5B1-235849029086}"/>
          </ac:spMkLst>
        </pc:spChg>
        <pc:spChg chg="add del mod modVis">
          <ac:chgData name="Joan Viladomiu Tora" userId="769a1043-f370-4a5b-a0e1-4e76db633912" providerId="ADAL" clId="{B914494A-F278-4C75-B5BF-52D7B31E87BB}" dt="2022-12-17T11:27:44.622" v="984"/>
          <ac:spMkLst>
            <pc:docMk/>
            <pc:sldMk cId="1758735073" sldId="260"/>
            <ac:spMk id="12" creationId="{E6132DF3-2C3A-41CE-A04F-FC2AEA1173BC}"/>
          </ac:spMkLst>
        </pc:spChg>
        <pc:spChg chg="add del mod modVis">
          <ac:chgData name="Joan Viladomiu Tora" userId="769a1043-f370-4a5b-a0e1-4e76db633912" providerId="ADAL" clId="{B914494A-F278-4C75-B5BF-52D7B31E87BB}" dt="2022-12-17T11:28:02.859" v="1027"/>
          <ac:spMkLst>
            <pc:docMk/>
            <pc:sldMk cId="1758735073" sldId="260"/>
            <ac:spMk id="13" creationId="{2079939F-C663-443D-B3DB-1E54E264ED25}"/>
          </ac:spMkLst>
        </pc:spChg>
        <pc:spChg chg="add del mod modVis">
          <ac:chgData name="Joan Viladomiu Tora" userId="769a1043-f370-4a5b-a0e1-4e76db633912" providerId="ADAL" clId="{B914494A-F278-4C75-B5BF-52D7B31E87BB}" dt="2022-12-17T11:28:53.425" v="1074"/>
          <ac:spMkLst>
            <pc:docMk/>
            <pc:sldMk cId="1758735073" sldId="260"/>
            <ac:spMk id="16" creationId="{357C53D7-3744-422C-8777-9A77498256A3}"/>
          </ac:spMkLst>
        </pc:spChg>
        <pc:spChg chg="add del mod modVis">
          <ac:chgData name="Joan Viladomiu Tora" userId="769a1043-f370-4a5b-a0e1-4e76db633912" providerId="ADAL" clId="{B914494A-F278-4C75-B5BF-52D7B31E87BB}" dt="2022-12-17T11:28:54.475" v="1120"/>
          <ac:spMkLst>
            <pc:docMk/>
            <pc:sldMk cId="1758735073" sldId="260"/>
            <ac:spMk id="17" creationId="{C67B9631-4761-4E5B-AB97-B34093F22726}"/>
          </ac:spMkLst>
        </pc:spChg>
        <pc:spChg chg="add del mod modVis">
          <ac:chgData name="Joan Viladomiu Tora" userId="769a1043-f370-4a5b-a0e1-4e76db633912" providerId="ADAL" clId="{B914494A-F278-4C75-B5BF-52D7B31E87BB}" dt="2022-12-17T11:29:01.033" v="1166"/>
          <ac:spMkLst>
            <pc:docMk/>
            <pc:sldMk cId="1758735073" sldId="260"/>
            <ac:spMk id="18" creationId="{C09C1F23-8BC3-469B-9748-BEB086905934}"/>
          </ac:spMkLst>
        </pc:spChg>
        <pc:spChg chg="add del mod modVis">
          <ac:chgData name="Joan Viladomiu Tora" userId="769a1043-f370-4a5b-a0e1-4e76db633912" providerId="ADAL" clId="{B914494A-F278-4C75-B5BF-52D7B31E87BB}" dt="2022-12-17T11:29:04.798" v="1211"/>
          <ac:spMkLst>
            <pc:docMk/>
            <pc:sldMk cId="1758735073" sldId="260"/>
            <ac:spMk id="19" creationId="{C5DCDDB4-6522-4725-8E28-E3F9C707F47F}"/>
          </ac:spMkLst>
        </pc:spChg>
        <pc:spChg chg="del mod modVis">
          <ac:chgData name="Joan Viladomiu Tora" userId="769a1043-f370-4a5b-a0e1-4e76db633912" providerId="ADAL" clId="{B914494A-F278-4C75-B5BF-52D7B31E87BB}" dt="2022-12-17T11:31:16.849" v="1873" actId="478"/>
          <ac:spMkLst>
            <pc:docMk/>
            <pc:sldMk cId="1758735073" sldId="260"/>
            <ac:spMk id="20" creationId="{B3184B06-8B2B-46E4-A705-DBAAA23D6F08}"/>
          </ac:spMkLst>
        </pc:spChg>
        <pc:spChg chg="del mod modVis">
          <ac:chgData name="Joan Viladomiu Tora" userId="769a1043-f370-4a5b-a0e1-4e76db633912" providerId="ADAL" clId="{B914494A-F278-4C75-B5BF-52D7B31E87BB}" dt="2022-12-17T11:31:19.714" v="2132" actId="478"/>
          <ac:spMkLst>
            <pc:docMk/>
            <pc:sldMk cId="1758735073" sldId="260"/>
            <ac:spMk id="21" creationId="{B87BA97D-B268-4D73-94FB-CCFA5C811E48}"/>
          </ac:spMkLst>
        </pc:spChg>
        <pc:spChg chg="del mod modVis">
          <ac:chgData name="Joan Viladomiu Tora" userId="769a1043-f370-4a5b-a0e1-4e76db633912" providerId="ADAL" clId="{B914494A-F278-4C75-B5BF-52D7B31E87BB}" dt="2022-12-17T11:31:22.296" v="2391" actId="478"/>
          <ac:spMkLst>
            <pc:docMk/>
            <pc:sldMk cId="1758735073" sldId="260"/>
            <ac:spMk id="22" creationId="{B259D033-9A32-414F-A9D7-0445C1B00CAF}"/>
          </ac:spMkLst>
        </pc:spChg>
        <pc:spChg chg="add del mod modVis">
          <ac:chgData name="Joan Viladomiu Tora" userId="769a1043-f370-4a5b-a0e1-4e76db633912" providerId="ADAL" clId="{B914494A-F278-4C75-B5BF-52D7B31E87BB}" dt="2022-12-17T12:09:50.235" v="2728"/>
          <ac:spMkLst>
            <pc:docMk/>
            <pc:sldMk cId="1758735073" sldId="260"/>
            <ac:spMk id="23" creationId="{448783F1-AC7B-44CB-8035-FBD72DC71817}"/>
          </ac:spMkLst>
        </pc:spChg>
        <pc:spChg chg="add del mod modVis">
          <ac:chgData name="Joan Viladomiu Tora" userId="769a1043-f370-4a5b-a0e1-4e76db633912" providerId="ADAL" clId="{B914494A-F278-4C75-B5BF-52D7B31E87BB}" dt="2022-12-17T12:10:13.072" v="2773"/>
          <ac:spMkLst>
            <pc:docMk/>
            <pc:sldMk cId="1758735073" sldId="260"/>
            <ac:spMk id="24" creationId="{C705E88A-C655-4ABE-8D75-B939A7BAE945}"/>
          </ac:spMkLst>
        </pc:spChg>
        <pc:spChg chg="add del mod modVis">
          <ac:chgData name="Joan Viladomiu Tora" userId="769a1043-f370-4a5b-a0e1-4e76db633912" providerId="ADAL" clId="{B914494A-F278-4C75-B5BF-52D7B31E87BB}" dt="2022-12-17T12:10:33.055" v="2856" actId="962"/>
          <ac:spMkLst>
            <pc:docMk/>
            <pc:sldMk cId="1758735073" sldId="260"/>
            <ac:spMk id="25" creationId="{A408D9E6-BE89-4955-913F-1B839EE7A30C}"/>
          </ac:spMkLst>
        </pc:spChg>
        <pc:spChg chg="mod">
          <ac:chgData name="Joan Viladomiu Tora" userId="769a1043-f370-4a5b-a0e1-4e76db633912" providerId="ADAL" clId="{B914494A-F278-4C75-B5BF-52D7B31E87BB}" dt="2022-12-17T12:11:18.867" v="2947" actId="164"/>
          <ac:spMkLst>
            <pc:docMk/>
            <pc:sldMk cId="1758735073" sldId="260"/>
            <ac:spMk id="27" creationId="{075B1769-ED8F-4E5B-97E7-0F4686E8C13B}"/>
          </ac:spMkLst>
        </pc:spChg>
        <pc:spChg chg="mod">
          <ac:chgData name="Joan Viladomiu Tora" userId="769a1043-f370-4a5b-a0e1-4e76db633912" providerId="ADAL" clId="{B914494A-F278-4C75-B5BF-52D7B31E87BB}" dt="2022-12-17T12:11:18.867" v="2947" actId="164"/>
          <ac:spMkLst>
            <pc:docMk/>
            <pc:sldMk cId="1758735073" sldId="260"/>
            <ac:spMk id="28" creationId="{3BB648BB-8A96-4E83-9E55-FD829EC82588}"/>
          </ac:spMkLst>
        </pc:spChg>
        <pc:spChg chg="mod">
          <ac:chgData name="Joan Viladomiu Tora" userId="769a1043-f370-4a5b-a0e1-4e76db633912" providerId="ADAL" clId="{B914494A-F278-4C75-B5BF-52D7B31E87BB}" dt="2022-12-17T12:11:18.867" v="2947" actId="164"/>
          <ac:spMkLst>
            <pc:docMk/>
            <pc:sldMk cId="1758735073" sldId="260"/>
            <ac:spMk id="29" creationId="{A33D60CD-AF8E-478A-A9AD-BB7CC0689341}"/>
          </ac:spMkLst>
        </pc:spChg>
        <pc:spChg chg="mod">
          <ac:chgData name="Joan Viladomiu Tora" userId="769a1043-f370-4a5b-a0e1-4e76db633912" providerId="ADAL" clId="{B914494A-F278-4C75-B5BF-52D7B31E87BB}" dt="2022-12-17T12:11:18.867" v="2947" actId="164"/>
          <ac:spMkLst>
            <pc:docMk/>
            <pc:sldMk cId="1758735073" sldId="260"/>
            <ac:spMk id="30" creationId="{5A1BE556-5764-4E6E-83B2-43A5071109D0}"/>
          </ac:spMkLst>
        </pc:spChg>
        <pc:spChg chg="add del mod modVis">
          <ac:chgData name="Joan Viladomiu Tora" userId="769a1043-f370-4a5b-a0e1-4e76db633912" providerId="ADAL" clId="{B914494A-F278-4C75-B5BF-52D7B31E87BB}" dt="2022-12-17T12:10:56.908" v="2901"/>
          <ac:spMkLst>
            <pc:docMk/>
            <pc:sldMk cId="1758735073" sldId="260"/>
            <ac:spMk id="31" creationId="{42B9B1B8-440A-465D-ACCC-24B7CFC90D54}"/>
          </ac:spMkLst>
        </pc:spChg>
        <pc:spChg chg="add del mod modVis">
          <ac:chgData name="Joan Viladomiu Tora" userId="769a1043-f370-4a5b-a0e1-4e76db633912" providerId="ADAL" clId="{B914494A-F278-4C75-B5BF-52D7B31E87BB}" dt="2022-12-17T12:11:11.642" v="2944"/>
          <ac:spMkLst>
            <pc:docMk/>
            <pc:sldMk cId="1758735073" sldId="260"/>
            <ac:spMk id="32" creationId="{AF56F230-1C42-4307-B672-437F0FD666D1}"/>
          </ac:spMkLst>
        </pc:spChg>
        <pc:spChg chg="add mod">
          <ac:chgData name="Joan Viladomiu Tora" userId="769a1043-f370-4a5b-a0e1-4e76db633912" providerId="ADAL" clId="{B914494A-F278-4C75-B5BF-52D7B31E87BB}" dt="2022-12-17T12:12:35.929" v="2973" actId="164"/>
          <ac:spMkLst>
            <pc:docMk/>
            <pc:sldMk cId="1758735073" sldId="260"/>
            <ac:spMk id="34" creationId="{C09B5AFA-795A-4896-8E67-D314E9E638A0}"/>
          </ac:spMkLst>
        </pc:spChg>
        <pc:spChg chg="add del mod">
          <ac:chgData name="Joan Viladomiu Tora" userId="769a1043-f370-4a5b-a0e1-4e76db633912" providerId="ADAL" clId="{B914494A-F278-4C75-B5BF-52D7B31E87BB}" dt="2022-12-17T12:12:26.698" v="2968" actId="478"/>
          <ac:spMkLst>
            <pc:docMk/>
            <pc:sldMk cId="1758735073" sldId="260"/>
            <ac:spMk id="36" creationId="{24FD7514-8372-40F5-A625-198BD6564784}"/>
          </ac:spMkLst>
        </pc:spChg>
        <pc:grpChg chg="mod">
          <ac:chgData name="Joan Viladomiu Tora" userId="769a1043-f370-4a5b-a0e1-4e76db633912" providerId="ADAL" clId="{B914494A-F278-4C75-B5BF-52D7B31E87BB}" dt="2022-12-17T11:26:39.222" v="555"/>
          <ac:grpSpMkLst>
            <pc:docMk/>
            <pc:sldMk cId="1758735073" sldId="260"/>
            <ac:grpSpMk id="1" creationId="{00000000-0000-0000-0000-000000000000}"/>
          </ac:grpSpMkLst>
        </pc:grpChg>
        <pc:grpChg chg="del mod">
          <ac:chgData name="Joan Viladomiu Tora" userId="769a1043-f370-4a5b-a0e1-4e76db633912" providerId="ADAL" clId="{B914494A-F278-4C75-B5BF-52D7B31E87BB}" dt="2022-12-17T12:10:56.294" v="2861" actId="27803"/>
          <ac:grpSpMkLst>
            <pc:docMk/>
            <pc:sldMk cId="1758735073" sldId="260"/>
            <ac:grpSpMk id="26" creationId="{9FB4DADB-B8D6-453B-B41E-E6D433766782}"/>
          </ac:grpSpMkLst>
        </pc:grpChg>
        <pc:grpChg chg="add mod">
          <ac:chgData name="Joan Viladomiu Tora" userId="769a1043-f370-4a5b-a0e1-4e76db633912" providerId="ADAL" clId="{B914494A-F278-4C75-B5BF-52D7B31E87BB}" dt="2022-12-17T12:12:35.929" v="2973" actId="164"/>
          <ac:grpSpMkLst>
            <pc:docMk/>
            <pc:sldMk cId="1758735073" sldId="260"/>
            <ac:grpSpMk id="33" creationId="{064E22D2-539B-499C-A2CF-2B8BEFAD6E1A}"/>
          </ac:grpSpMkLst>
        </pc:grpChg>
        <pc:grpChg chg="add mod">
          <ac:chgData name="Joan Viladomiu Tora" userId="769a1043-f370-4a5b-a0e1-4e76db633912" providerId="ADAL" clId="{B914494A-F278-4C75-B5BF-52D7B31E87BB}" dt="2022-12-17T12:12:37.215" v="2974" actId="12788"/>
          <ac:grpSpMkLst>
            <pc:docMk/>
            <pc:sldMk cId="1758735073" sldId="260"/>
            <ac:grpSpMk id="37" creationId="{94382B67-9B32-43F3-BB35-E1203ED1BC67}"/>
          </ac:grpSpMkLst>
        </pc:grpChg>
        <pc:graphicFrameChg chg="mod">
          <ac:chgData name="Joan Viladomiu Tora" userId="769a1043-f370-4a5b-a0e1-4e76db633912" providerId="ADAL" clId="{B914494A-F278-4C75-B5BF-52D7B31E87BB}" dt="2022-12-17T12:12:27.235" v="2970"/>
          <ac:graphicFrameMkLst>
            <pc:docMk/>
            <pc:sldMk cId="1758735073" sldId="260"/>
            <ac:graphicFrameMk id="4" creationId="{637DE2E9-A32B-4253-BD3A-484BBC42BC88}"/>
          </ac:graphicFrameMkLst>
        </pc:graphicFrameChg>
        <pc:picChg chg="add del mod">
          <ac:chgData name="Joan Viladomiu Tora" userId="769a1043-f370-4a5b-a0e1-4e76db633912" providerId="ADAL" clId="{B914494A-F278-4C75-B5BF-52D7B31E87BB}" dt="2022-12-17T12:10:56.294" v="2861" actId="27803"/>
          <ac:picMkLst>
            <pc:docMk/>
            <pc:sldMk cId="1758735073" sldId="260"/>
            <ac:picMk id="15" creationId="{7025D679-492E-4DAF-A217-D27241530E37}"/>
          </ac:picMkLst>
        </pc:picChg>
      </pc:sldChg>
      <pc:sldChg chg="addSp delSp modSp add mod modNotesTx">
        <pc:chgData name="Joan Viladomiu Tora" userId="769a1043-f370-4a5b-a0e1-4e76db633912" providerId="ADAL" clId="{B914494A-F278-4C75-B5BF-52D7B31E87BB}" dt="2022-12-22T15:43:27.547" v="13932"/>
        <pc:sldMkLst>
          <pc:docMk/>
          <pc:sldMk cId="4005771017" sldId="261"/>
        </pc:sldMkLst>
        <pc:spChg chg="add del mod modVis">
          <ac:chgData name="Joan Viladomiu Tora" userId="769a1043-f370-4a5b-a0e1-4e76db633912" providerId="ADAL" clId="{B914494A-F278-4C75-B5BF-52D7B31E87BB}" dt="2022-12-21T22:41:57.150" v="8053"/>
          <ac:spMkLst>
            <pc:docMk/>
            <pc:sldMk cId="4005771017" sldId="261"/>
            <ac:spMk id="2" creationId="{15E91650-2514-495F-ACC0-5CFCCA6DB827}"/>
          </ac:spMkLst>
        </pc:spChg>
        <pc:spChg chg="del mod">
          <ac:chgData name="Joan Viladomiu Tora" userId="769a1043-f370-4a5b-a0e1-4e76db633912" providerId="ADAL" clId="{B914494A-F278-4C75-B5BF-52D7B31E87BB}" dt="2022-12-17T15:36:42.898" v="5394" actId="478"/>
          <ac:spMkLst>
            <pc:docMk/>
            <pc:sldMk cId="4005771017" sldId="261"/>
            <ac:spMk id="2" creationId="{4A740989-5363-4063-8E68-D08C8ED71F09}"/>
          </ac:spMkLst>
        </pc:spChg>
        <pc:spChg chg="mod ord">
          <ac:chgData name="Joan Viladomiu Tora" userId="769a1043-f370-4a5b-a0e1-4e76db633912" providerId="ADAL" clId="{B914494A-F278-4C75-B5BF-52D7B31E87BB}" dt="2022-12-22T15:43:27.480" v="13891" actId="948"/>
          <ac:spMkLst>
            <pc:docMk/>
            <pc:sldMk cId="4005771017" sldId="261"/>
            <ac:spMk id="3" creationId="{EAFFC853-3152-416C-8C98-D3A291F725F1}"/>
          </ac:spMkLst>
        </pc:spChg>
        <pc:spChg chg="add del mod">
          <ac:chgData name="Joan Viladomiu Tora" userId="769a1043-f370-4a5b-a0e1-4e76db633912" providerId="ADAL" clId="{B914494A-F278-4C75-B5BF-52D7B31E87BB}" dt="2022-12-17T15:36:56.716" v="5397" actId="478"/>
          <ac:spMkLst>
            <pc:docMk/>
            <pc:sldMk cId="4005771017" sldId="261"/>
            <ac:spMk id="5" creationId="{6D6255B9-3161-4665-8EAE-C50A41992017}"/>
          </ac:spMkLst>
        </pc:spChg>
        <pc:spChg chg="del mod">
          <ac:chgData name="Joan Viladomiu Tora" userId="769a1043-f370-4a5b-a0e1-4e76db633912" providerId="ADAL" clId="{B914494A-F278-4C75-B5BF-52D7B31E87BB}" dt="2022-12-17T15:36:58.842" v="5398" actId="21"/>
          <ac:spMkLst>
            <pc:docMk/>
            <pc:sldMk cId="4005771017" sldId="261"/>
            <ac:spMk id="6" creationId="{F1849BB3-07BA-4A43-8C05-07B684D2FDA6}"/>
          </ac:spMkLst>
        </pc:spChg>
        <pc:spChg chg="del mod">
          <ac:chgData name="Joan Viladomiu Tora" userId="769a1043-f370-4a5b-a0e1-4e76db633912" providerId="ADAL" clId="{B914494A-F278-4C75-B5BF-52D7B31E87BB}" dt="2022-12-17T15:37:00.978" v="5399" actId="478"/>
          <ac:spMkLst>
            <pc:docMk/>
            <pc:sldMk cId="4005771017" sldId="261"/>
            <ac:spMk id="7" creationId="{B60DE1E8-4264-405D-88D0-13294B7575F0}"/>
          </ac:spMkLst>
        </pc:spChg>
        <pc:spChg chg="add del mod modVis">
          <ac:chgData name="Joan Viladomiu Tora" userId="769a1043-f370-4a5b-a0e1-4e76db633912" providerId="ADAL" clId="{B914494A-F278-4C75-B5BF-52D7B31E87BB}" dt="2022-12-17T14:38:16.169" v="3221"/>
          <ac:spMkLst>
            <pc:docMk/>
            <pc:sldMk cId="4005771017" sldId="261"/>
            <ac:spMk id="8" creationId="{129C059C-242B-42C1-9731-06A1E2EAEE0A}"/>
          </ac:spMkLst>
        </pc:spChg>
        <pc:spChg chg="add del mod modVis">
          <ac:chgData name="Joan Viladomiu Tora" userId="769a1043-f370-4a5b-a0e1-4e76db633912" providerId="ADAL" clId="{B914494A-F278-4C75-B5BF-52D7B31E87BB}" dt="2022-12-17T14:38:21.554" v="3283"/>
          <ac:spMkLst>
            <pc:docMk/>
            <pc:sldMk cId="4005771017" sldId="261"/>
            <ac:spMk id="9" creationId="{B6B11DBD-2916-456C-9408-E55A2833E017}"/>
          </ac:spMkLst>
        </pc:spChg>
        <pc:spChg chg="add del mod modVis">
          <ac:chgData name="Joan Viladomiu Tora" userId="769a1043-f370-4a5b-a0e1-4e76db633912" providerId="ADAL" clId="{B914494A-F278-4C75-B5BF-52D7B31E87BB}" dt="2022-12-17T14:38:23.609" v="3332"/>
          <ac:spMkLst>
            <pc:docMk/>
            <pc:sldMk cId="4005771017" sldId="261"/>
            <ac:spMk id="10" creationId="{C3ADD933-73E6-475E-A0A9-B451E784B7D6}"/>
          </ac:spMkLst>
        </pc:spChg>
        <pc:spChg chg="add del mod modVis">
          <ac:chgData name="Joan Viladomiu Tora" userId="769a1043-f370-4a5b-a0e1-4e76db633912" providerId="ADAL" clId="{B914494A-F278-4C75-B5BF-52D7B31E87BB}" dt="2022-12-17T14:40:32.283" v="4284"/>
          <ac:spMkLst>
            <pc:docMk/>
            <pc:sldMk cId="4005771017" sldId="261"/>
            <ac:spMk id="11" creationId="{9BB2463F-B87D-447D-8209-6F0B343D0120}"/>
          </ac:spMkLst>
        </pc:spChg>
        <pc:spChg chg="add del mod modVis">
          <ac:chgData name="Joan Viladomiu Tora" userId="769a1043-f370-4a5b-a0e1-4e76db633912" providerId="ADAL" clId="{B914494A-F278-4C75-B5BF-52D7B31E87BB}" dt="2022-12-17T14:40:32.990" v="4327"/>
          <ac:spMkLst>
            <pc:docMk/>
            <pc:sldMk cId="4005771017" sldId="261"/>
            <ac:spMk id="12" creationId="{F5A597A5-A32B-458B-A7C7-0D93CAAB5298}"/>
          </ac:spMkLst>
        </pc:spChg>
        <pc:spChg chg="add del mod modVis">
          <ac:chgData name="Joan Viladomiu Tora" userId="769a1043-f370-4a5b-a0e1-4e76db633912" providerId="ADAL" clId="{B914494A-F278-4C75-B5BF-52D7B31E87BB}" dt="2022-12-17T15:43:22.155" v="5459"/>
          <ac:spMkLst>
            <pc:docMk/>
            <pc:sldMk cId="4005771017" sldId="261"/>
            <ac:spMk id="13" creationId="{109B6651-1C30-4D49-A433-004B7089A5F4}"/>
          </ac:spMkLst>
        </pc:spChg>
        <pc:spChg chg="add del mod modVis">
          <ac:chgData name="Joan Viladomiu Tora" userId="769a1043-f370-4a5b-a0e1-4e76db633912" providerId="ADAL" clId="{B914494A-F278-4C75-B5BF-52D7B31E87BB}" dt="2022-12-22T15:43:27.538" v="13930"/>
          <ac:spMkLst>
            <pc:docMk/>
            <pc:sldMk cId="4005771017" sldId="261"/>
            <ac:spMk id="16" creationId="{EAE278B5-EEBE-4B13-9E87-75662D89F9B6}"/>
          </ac:spMkLst>
        </pc:spChg>
        <pc:spChg chg="add del mod">
          <ac:chgData name="Joan Viladomiu Tora" userId="769a1043-f370-4a5b-a0e1-4e76db633912" providerId="ADAL" clId="{B914494A-F278-4C75-B5BF-52D7B31E87BB}" dt="2022-12-21T22:41:00.899" v="7931" actId="478"/>
          <ac:spMkLst>
            <pc:docMk/>
            <pc:sldMk cId="4005771017" sldId="261"/>
            <ac:spMk id="17" creationId="{7BC0A0FF-59C8-48A1-9935-A1D67684DCAA}"/>
          </ac:spMkLst>
        </pc:spChg>
        <pc:spChg chg="add mod">
          <ac:chgData name="Joan Viladomiu Tora" userId="769a1043-f370-4a5b-a0e1-4e76db633912" providerId="ADAL" clId="{B914494A-F278-4C75-B5BF-52D7B31E87BB}" dt="2022-12-21T22:41:23.873" v="7935" actId="571"/>
          <ac:spMkLst>
            <pc:docMk/>
            <pc:sldMk cId="4005771017" sldId="261"/>
            <ac:spMk id="18" creationId="{34600B4A-6F73-459A-B386-106136F5AF37}"/>
          </ac:spMkLst>
        </pc:spChg>
        <pc:spChg chg="add mod topLvl">
          <ac:chgData name="Joan Viladomiu Tora" userId="769a1043-f370-4a5b-a0e1-4e76db633912" providerId="ADAL" clId="{B914494A-F278-4C75-B5BF-52D7B31E87BB}" dt="2022-12-22T12:11:56.548" v="9191" actId="165"/>
          <ac:spMkLst>
            <pc:docMk/>
            <pc:sldMk cId="4005771017" sldId="261"/>
            <ac:spMk id="18" creationId="{4776659A-FA01-4B5B-B8A7-0B2F283BE9FB}"/>
          </ac:spMkLst>
        </pc:spChg>
        <pc:spChg chg="add mod">
          <ac:chgData name="Joan Viladomiu Tora" userId="769a1043-f370-4a5b-a0e1-4e76db633912" providerId="ADAL" clId="{B914494A-F278-4C75-B5BF-52D7B31E87BB}" dt="2022-12-21T22:41:23.873" v="7935" actId="571"/>
          <ac:spMkLst>
            <pc:docMk/>
            <pc:sldMk cId="4005771017" sldId="261"/>
            <ac:spMk id="19" creationId="{2BEBE35A-504C-472B-B176-4C4DED5CB773}"/>
          </ac:spMkLst>
        </pc:spChg>
        <pc:spChg chg="add mod topLvl">
          <ac:chgData name="Joan Viladomiu Tora" userId="769a1043-f370-4a5b-a0e1-4e76db633912" providerId="ADAL" clId="{B914494A-F278-4C75-B5BF-52D7B31E87BB}" dt="2022-12-22T12:12:43.194" v="9201" actId="1076"/>
          <ac:spMkLst>
            <pc:docMk/>
            <pc:sldMk cId="4005771017" sldId="261"/>
            <ac:spMk id="19" creationId="{85A4A74D-8EA6-4A6E-8631-3C1F85D2D4FA}"/>
          </ac:spMkLst>
        </pc:spChg>
        <pc:spChg chg="del mod topLvl">
          <ac:chgData name="Joan Viladomiu Tora" userId="769a1043-f370-4a5b-a0e1-4e76db633912" providerId="ADAL" clId="{B914494A-F278-4C75-B5BF-52D7B31E87BB}" dt="2022-12-17T15:44:44.673" v="5466" actId="21"/>
          <ac:spMkLst>
            <pc:docMk/>
            <pc:sldMk cId="4005771017" sldId="261"/>
            <ac:spMk id="20" creationId="{EAE77AD3-B1F3-4B76-BB3C-ACA5DD2C07CF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1" creationId="{5A5187C0-BCBC-4EBB-AB4A-2888BBE35B05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2" creationId="{31FD7C13-A629-4D91-8D12-CA8E5502E207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3" creationId="{E16C4B61-2823-484E-8377-EF533E059BEA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4" creationId="{CE51CA4B-3642-4669-B8FF-013D5BF62A0F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5" creationId="{3CA41A3F-2BAC-41A7-AD95-E9817A8F4512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6" creationId="{955DE6C3-53A2-4778-9D2C-2805D991E698}"/>
          </ac:spMkLst>
        </pc:spChg>
        <pc:spChg chg="add del mod">
          <ac:chgData name="Joan Viladomiu Tora" userId="769a1043-f370-4a5b-a0e1-4e76db633912" providerId="ADAL" clId="{B914494A-F278-4C75-B5BF-52D7B31E87BB}" dt="2022-12-22T12:21:13.621" v="9353" actId="478"/>
          <ac:spMkLst>
            <pc:docMk/>
            <pc:sldMk cId="4005771017" sldId="261"/>
            <ac:spMk id="27" creationId="{76246523-7F37-4782-9FF6-9DA289A77DE2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7" creationId="{B7388536-38C8-473B-9CDD-8FE58CE67C73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8" creationId="{1341B821-2E3D-4106-9A5C-71D723717A9C}"/>
          </ac:spMkLst>
        </pc:spChg>
        <pc:spChg chg="add del mod">
          <ac:chgData name="Joan Viladomiu Tora" userId="769a1043-f370-4a5b-a0e1-4e76db633912" providerId="ADAL" clId="{B914494A-F278-4C75-B5BF-52D7B31E87BB}" dt="2022-12-22T12:21:13.621" v="9353" actId="478"/>
          <ac:spMkLst>
            <pc:docMk/>
            <pc:sldMk cId="4005771017" sldId="261"/>
            <ac:spMk id="28" creationId="{B48D1E16-32B3-4324-BE35-A1AA043C6E49}"/>
          </ac:spMkLst>
        </pc:spChg>
        <pc:spChg chg="del mod topLvl">
          <ac:chgData name="Joan Viladomiu Tora" userId="769a1043-f370-4a5b-a0e1-4e76db633912" providerId="ADAL" clId="{B914494A-F278-4C75-B5BF-52D7B31E87BB}" dt="2022-12-17T15:44:47.494" v="5467" actId="478"/>
          <ac:spMkLst>
            <pc:docMk/>
            <pc:sldMk cId="4005771017" sldId="261"/>
            <ac:spMk id="29" creationId="{75A58629-7353-4398-9E4B-3AA437DF1A00}"/>
          </ac:spMkLst>
        </pc:spChg>
        <pc:spChg chg="add del mod ord">
          <ac:chgData name="Joan Viladomiu Tora" userId="769a1043-f370-4a5b-a0e1-4e76db633912" providerId="ADAL" clId="{B914494A-F278-4C75-B5BF-52D7B31E87BB}" dt="2022-12-17T19:21:34.058" v="7206" actId="478"/>
          <ac:spMkLst>
            <pc:docMk/>
            <pc:sldMk cId="4005771017" sldId="261"/>
            <ac:spMk id="30" creationId="{4B5598BD-04A2-4301-9148-2915A2478C4C}"/>
          </ac:spMkLst>
        </pc:spChg>
        <pc:spChg chg="add mod ord">
          <ac:chgData name="Joan Viladomiu Tora" userId="769a1043-f370-4a5b-a0e1-4e76db633912" providerId="ADAL" clId="{B914494A-F278-4C75-B5BF-52D7B31E87BB}" dt="2022-12-22T12:13:28.139" v="9208" actId="313"/>
          <ac:spMkLst>
            <pc:docMk/>
            <pc:sldMk cId="4005771017" sldId="261"/>
            <ac:spMk id="31" creationId="{F55EC592-C7C1-40B7-9B02-9C43AE09812B}"/>
          </ac:spMkLst>
        </pc:spChg>
        <pc:spChg chg="add del mod ord">
          <ac:chgData name="Joan Viladomiu Tora" userId="769a1043-f370-4a5b-a0e1-4e76db633912" providerId="ADAL" clId="{B914494A-F278-4C75-B5BF-52D7B31E87BB}" dt="2022-12-21T22:41:00.899" v="7931" actId="478"/>
          <ac:spMkLst>
            <pc:docMk/>
            <pc:sldMk cId="4005771017" sldId="261"/>
            <ac:spMk id="32" creationId="{56507984-5F7D-4068-92A7-AE64265D004D}"/>
          </ac:spMkLst>
        </pc:spChg>
        <pc:spChg chg="add del mod ord">
          <ac:chgData name="Joan Viladomiu Tora" userId="769a1043-f370-4a5b-a0e1-4e76db633912" providerId="ADAL" clId="{B914494A-F278-4C75-B5BF-52D7B31E87BB}" dt="2022-12-21T22:40:21.434" v="7925" actId="478"/>
          <ac:spMkLst>
            <pc:docMk/>
            <pc:sldMk cId="4005771017" sldId="261"/>
            <ac:spMk id="33" creationId="{35A809BB-07B1-4E25-AA04-05EEFCE59BE4}"/>
          </ac:spMkLst>
        </pc:spChg>
        <pc:spChg chg="add del mod">
          <ac:chgData name="Joan Viladomiu Tora" userId="769a1043-f370-4a5b-a0e1-4e76db633912" providerId="ADAL" clId="{B914494A-F278-4C75-B5BF-52D7B31E87BB}" dt="2022-12-17T16:40:10.825" v="6745" actId="21"/>
          <ac:spMkLst>
            <pc:docMk/>
            <pc:sldMk cId="4005771017" sldId="261"/>
            <ac:spMk id="36" creationId="{0ADF781D-C5B3-4D40-AB09-BCD5A1525651}"/>
          </ac:spMkLst>
        </pc:spChg>
        <pc:spChg chg="add del mod ord">
          <ac:chgData name="Joan Viladomiu Tora" userId="769a1043-f370-4a5b-a0e1-4e76db633912" providerId="ADAL" clId="{B914494A-F278-4C75-B5BF-52D7B31E87BB}" dt="2022-12-21T22:38:16.015" v="7886" actId="478"/>
          <ac:spMkLst>
            <pc:docMk/>
            <pc:sldMk cId="4005771017" sldId="261"/>
            <ac:spMk id="38" creationId="{C0C72144-6217-4D1E-B4EB-E99665520B3A}"/>
          </ac:spMkLst>
        </pc:spChg>
        <pc:spChg chg="add mod ord topLvl">
          <ac:chgData name="Joan Viladomiu Tora" userId="769a1043-f370-4a5b-a0e1-4e76db633912" providerId="ADAL" clId="{B914494A-F278-4C75-B5BF-52D7B31E87BB}" dt="2022-12-22T12:10:06.004" v="9168" actId="12788"/>
          <ac:spMkLst>
            <pc:docMk/>
            <pc:sldMk cId="4005771017" sldId="261"/>
            <ac:spMk id="39" creationId="{53DD9AA9-5CF8-4C56-B5B2-F1EA3327A92C}"/>
          </ac:spMkLst>
        </pc:spChg>
        <pc:spChg chg="add mod ord topLvl">
          <ac:chgData name="Joan Viladomiu Tora" userId="769a1043-f370-4a5b-a0e1-4e76db633912" providerId="ADAL" clId="{B914494A-F278-4C75-B5BF-52D7B31E87BB}" dt="2022-12-22T08:44:32.298" v="8335" actId="14100"/>
          <ac:spMkLst>
            <pc:docMk/>
            <pc:sldMk cId="4005771017" sldId="261"/>
            <ac:spMk id="40" creationId="{13E6B38D-CA91-426F-A3AC-6646EF3961D8}"/>
          </ac:spMkLst>
        </pc:spChg>
        <pc:spChg chg="add mod ord topLvl">
          <ac:chgData name="Joan Viladomiu Tora" userId="769a1043-f370-4a5b-a0e1-4e76db633912" providerId="ADAL" clId="{B914494A-F278-4C75-B5BF-52D7B31E87BB}" dt="2022-12-22T12:11:18.001" v="9179" actId="1076"/>
          <ac:spMkLst>
            <pc:docMk/>
            <pc:sldMk cId="4005771017" sldId="261"/>
            <ac:spMk id="43" creationId="{790A53C9-588C-4B65-8E16-5B9CB5CC4894}"/>
          </ac:spMkLst>
        </pc:spChg>
        <pc:spChg chg="add mod ord topLvl">
          <ac:chgData name="Joan Viladomiu Tora" userId="769a1043-f370-4a5b-a0e1-4e76db633912" providerId="ADAL" clId="{B914494A-F278-4C75-B5BF-52D7B31E87BB}" dt="2022-12-22T12:11:18.001" v="9179" actId="1076"/>
          <ac:spMkLst>
            <pc:docMk/>
            <pc:sldMk cId="4005771017" sldId="261"/>
            <ac:spMk id="44" creationId="{95D08666-966A-4FBA-A508-B7D2175FABB9}"/>
          </ac:spMkLst>
        </pc:spChg>
        <pc:spChg chg="add del mod">
          <ac:chgData name="Joan Viladomiu Tora" userId="769a1043-f370-4a5b-a0e1-4e76db633912" providerId="ADAL" clId="{B914494A-F278-4C75-B5BF-52D7B31E87BB}" dt="2022-12-17T16:59:51.374" v="7086" actId="478"/>
          <ac:spMkLst>
            <pc:docMk/>
            <pc:sldMk cId="4005771017" sldId="261"/>
            <ac:spMk id="45" creationId="{F063F6EC-33BC-4E44-8AB3-EEAD50BFFD19}"/>
          </ac:spMkLst>
        </pc:spChg>
        <pc:spChg chg="add del mod">
          <ac:chgData name="Joan Viladomiu Tora" userId="769a1043-f370-4a5b-a0e1-4e76db633912" providerId="ADAL" clId="{B914494A-F278-4C75-B5BF-52D7B31E87BB}" dt="2022-12-17T16:59:15.122" v="7085"/>
          <ac:spMkLst>
            <pc:docMk/>
            <pc:sldMk cId="4005771017" sldId="261"/>
            <ac:spMk id="46" creationId="{1E7EC379-BABD-4863-8B3E-B0280BE8D750}"/>
          </ac:spMkLst>
        </pc:spChg>
        <pc:spChg chg="add del mod">
          <ac:chgData name="Joan Viladomiu Tora" userId="769a1043-f370-4a5b-a0e1-4e76db633912" providerId="ADAL" clId="{B914494A-F278-4C75-B5BF-52D7B31E87BB}" dt="2022-12-17T19:11:09.226" v="7102" actId="478"/>
          <ac:spMkLst>
            <pc:docMk/>
            <pc:sldMk cId="4005771017" sldId="261"/>
            <ac:spMk id="51" creationId="{E5D94334-D0D5-4A0E-9F85-AFDF9F1B1DD2}"/>
          </ac:spMkLst>
        </pc:spChg>
        <pc:spChg chg="add mod ord topLvl">
          <ac:chgData name="Joan Viladomiu Tora" userId="769a1043-f370-4a5b-a0e1-4e76db633912" providerId="ADAL" clId="{B914494A-F278-4C75-B5BF-52D7B31E87BB}" dt="2022-12-22T12:13:08.219" v="9204" actId="1076"/>
          <ac:spMkLst>
            <pc:docMk/>
            <pc:sldMk cId="4005771017" sldId="261"/>
            <ac:spMk id="54" creationId="{D696070B-8CAD-4D99-9C56-DF05533AE0D1}"/>
          </ac:spMkLst>
        </pc:spChg>
        <pc:grpChg chg="mod">
          <ac:chgData name="Joan Viladomiu Tora" userId="769a1043-f370-4a5b-a0e1-4e76db633912" providerId="ADAL" clId="{B914494A-F278-4C75-B5BF-52D7B31E87BB}" dt="2022-12-17T14:35:51.607" v="3029"/>
          <ac:grpSpMkLst>
            <pc:docMk/>
            <pc:sldMk cId="4005771017" sldId="261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914494A-F278-4C75-B5BF-52D7B31E87BB}" dt="2022-12-22T12:11:56.548" v="9191" actId="165"/>
          <ac:grpSpMkLst>
            <pc:docMk/>
            <pc:sldMk cId="4005771017" sldId="261"/>
            <ac:grpSpMk id="12" creationId="{76A78C3D-7B2B-411C-B01A-EC1447B07EA2}"/>
          </ac:grpSpMkLst>
        </pc:grpChg>
        <pc:grpChg chg="add del mod">
          <ac:chgData name="Joan Viladomiu Tora" userId="769a1043-f370-4a5b-a0e1-4e76db633912" providerId="ADAL" clId="{B914494A-F278-4C75-B5BF-52D7B31E87BB}" dt="2022-12-22T12:11:56.548" v="9191" actId="165"/>
          <ac:grpSpMkLst>
            <pc:docMk/>
            <pc:sldMk cId="4005771017" sldId="261"/>
            <ac:grpSpMk id="13" creationId="{B10D08E1-403A-4A15-8025-62BC6A39B229}"/>
          </ac:grpSpMkLst>
        </pc:grpChg>
        <pc:grpChg chg="add del mod">
          <ac:chgData name="Joan Viladomiu Tora" userId="769a1043-f370-4a5b-a0e1-4e76db633912" providerId="ADAL" clId="{B914494A-F278-4C75-B5BF-52D7B31E87BB}" dt="2022-12-22T12:11:56.548" v="9191" actId="165"/>
          <ac:grpSpMkLst>
            <pc:docMk/>
            <pc:sldMk cId="4005771017" sldId="261"/>
            <ac:grpSpMk id="14" creationId="{C82008AD-A083-4DCA-92BA-EE057FE6F4E6}"/>
          </ac:grpSpMkLst>
        </pc:grpChg>
        <pc:grpChg chg="add del mod">
          <ac:chgData name="Joan Viladomiu Tora" userId="769a1043-f370-4a5b-a0e1-4e76db633912" providerId="ADAL" clId="{B914494A-F278-4C75-B5BF-52D7B31E87BB}" dt="2022-12-17T15:44:38.237" v="5464" actId="165"/>
          <ac:grpSpMkLst>
            <pc:docMk/>
            <pc:sldMk cId="4005771017" sldId="261"/>
            <ac:grpSpMk id="14" creationId="{EC15DC0E-6FDC-4299-AB80-F27B512FC115}"/>
          </ac:grpSpMkLst>
        </pc:grpChg>
        <pc:grpChg chg="add del mod">
          <ac:chgData name="Joan Viladomiu Tora" userId="769a1043-f370-4a5b-a0e1-4e76db633912" providerId="ADAL" clId="{B914494A-F278-4C75-B5BF-52D7B31E87BB}" dt="2022-12-22T12:12:29.891" v="9199" actId="165"/>
          <ac:grpSpMkLst>
            <pc:docMk/>
            <pc:sldMk cId="4005771017" sldId="261"/>
            <ac:grpSpMk id="15" creationId="{475C56C8-6187-42E2-8771-6EB221F54EFC}"/>
          </ac:grpSpMkLst>
        </pc:grpChg>
        <pc:grpChg chg="del mod topLvl">
          <ac:chgData name="Joan Viladomiu Tora" userId="769a1043-f370-4a5b-a0e1-4e76db633912" providerId="ADAL" clId="{B914494A-F278-4C75-B5BF-52D7B31E87BB}" dt="2022-12-17T15:44:40.691" v="5465" actId="165"/>
          <ac:grpSpMkLst>
            <pc:docMk/>
            <pc:sldMk cId="4005771017" sldId="261"/>
            <ac:grpSpMk id="15" creationId="{D733FDA3-A541-44E8-929E-4C0FEF841459}"/>
          </ac:grpSpMkLst>
        </pc:grpChg>
        <pc:grpChg chg="del mod topLvl">
          <ac:chgData name="Joan Viladomiu Tora" userId="769a1043-f370-4a5b-a0e1-4e76db633912" providerId="ADAL" clId="{B914494A-F278-4C75-B5BF-52D7B31E87BB}" dt="2022-12-17T15:44:40.691" v="5465" actId="165"/>
          <ac:grpSpMkLst>
            <pc:docMk/>
            <pc:sldMk cId="4005771017" sldId="261"/>
            <ac:grpSpMk id="16" creationId="{6A8460EF-63A1-4B57-8A51-648858ABB015}"/>
          </ac:grpSpMkLst>
        </pc:grpChg>
        <pc:grpChg chg="del mod topLvl">
          <ac:chgData name="Joan Viladomiu Tora" userId="769a1043-f370-4a5b-a0e1-4e76db633912" providerId="ADAL" clId="{B914494A-F278-4C75-B5BF-52D7B31E87BB}" dt="2022-12-17T15:44:40.691" v="5465" actId="165"/>
          <ac:grpSpMkLst>
            <pc:docMk/>
            <pc:sldMk cId="4005771017" sldId="261"/>
            <ac:grpSpMk id="17" creationId="{43BF31E7-1E61-43A6-9405-5E30439EA387}"/>
          </ac:grpSpMkLst>
        </pc:grpChg>
        <pc:grpChg chg="del mod topLvl">
          <ac:chgData name="Joan Viladomiu Tora" userId="769a1043-f370-4a5b-a0e1-4e76db633912" providerId="ADAL" clId="{B914494A-F278-4C75-B5BF-52D7B31E87BB}" dt="2022-12-17T15:44:40.691" v="5465" actId="165"/>
          <ac:grpSpMkLst>
            <pc:docMk/>
            <pc:sldMk cId="4005771017" sldId="261"/>
            <ac:grpSpMk id="18" creationId="{F60DB610-ADF8-481F-87CD-AC4FA7F9F46D}"/>
          </ac:grpSpMkLst>
        </pc:grpChg>
        <pc:grpChg chg="del mod topLvl">
          <ac:chgData name="Joan Viladomiu Tora" userId="769a1043-f370-4a5b-a0e1-4e76db633912" providerId="ADAL" clId="{B914494A-F278-4C75-B5BF-52D7B31E87BB}" dt="2022-12-17T15:44:40.691" v="5465" actId="165"/>
          <ac:grpSpMkLst>
            <pc:docMk/>
            <pc:sldMk cId="4005771017" sldId="261"/>
            <ac:grpSpMk id="19" creationId="{EFDA246B-7D6D-44D5-8F6B-07F3B69C2E4E}"/>
          </ac:grpSpMkLst>
        </pc:grpChg>
        <pc:grpChg chg="add del mod ord">
          <ac:chgData name="Joan Viladomiu Tora" userId="769a1043-f370-4a5b-a0e1-4e76db633912" providerId="ADAL" clId="{B914494A-F278-4C75-B5BF-52D7B31E87BB}" dt="2022-12-17T16:53:00.574" v="7022" actId="165"/>
          <ac:grpSpMkLst>
            <pc:docMk/>
            <pc:sldMk cId="4005771017" sldId="261"/>
            <ac:grpSpMk id="41" creationId="{D5E0FE01-D20D-4FD6-A99A-D2D0B7562981}"/>
          </ac:grpSpMkLst>
        </pc:grpChg>
        <pc:grpChg chg="add del mod">
          <ac:chgData name="Joan Viladomiu Tora" userId="769a1043-f370-4a5b-a0e1-4e76db633912" providerId="ADAL" clId="{B914494A-F278-4C75-B5BF-52D7B31E87BB}" dt="2022-12-17T16:53:40.816" v="7049" actId="165"/>
          <ac:grpSpMkLst>
            <pc:docMk/>
            <pc:sldMk cId="4005771017" sldId="261"/>
            <ac:grpSpMk id="42" creationId="{1E8F3387-D1BA-464F-ABC9-848722F98305}"/>
          </ac:grpSpMkLst>
        </pc:grpChg>
        <pc:grpChg chg="add del mod">
          <ac:chgData name="Joan Viladomiu Tora" userId="769a1043-f370-4a5b-a0e1-4e76db633912" providerId="ADAL" clId="{B914494A-F278-4C75-B5BF-52D7B31E87BB}" dt="2022-12-21T22:31:16.196" v="7744" actId="165"/>
          <ac:grpSpMkLst>
            <pc:docMk/>
            <pc:sldMk cId="4005771017" sldId="261"/>
            <ac:grpSpMk id="52" creationId="{C05CB766-9F52-4092-90B0-F681A690B38E}"/>
          </ac:grpSpMkLst>
        </pc:grpChg>
        <pc:grpChg chg="add del mod">
          <ac:chgData name="Joan Viladomiu Tora" userId="769a1043-f370-4a5b-a0e1-4e76db633912" providerId="ADAL" clId="{B914494A-F278-4C75-B5BF-52D7B31E87BB}" dt="2022-12-21T22:31:16.196" v="7744" actId="165"/>
          <ac:grpSpMkLst>
            <pc:docMk/>
            <pc:sldMk cId="4005771017" sldId="261"/>
            <ac:grpSpMk id="53" creationId="{C4C6B987-57A5-42A1-A1CE-4A5796AE47A6}"/>
          </ac:grpSpMkLst>
        </pc:grpChg>
        <pc:graphicFrameChg chg="mod">
          <ac:chgData name="Joan Viladomiu Tora" userId="769a1043-f370-4a5b-a0e1-4e76db633912" providerId="ADAL" clId="{B914494A-F278-4C75-B5BF-52D7B31E87BB}" dt="2022-12-22T15:43:27.547" v="13932"/>
          <ac:graphicFrameMkLst>
            <pc:docMk/>
            <pc:sldMk cId="4005771017" sldId="261"/>
            <ac:graphicFrameMk id="4" creationId="{637DE2E9-A32B-4253-BD3A-484BBC42BC88}"/>
          </ac:graphicFrameMkLst>
        </pc:graphicFrameChg>
        <pc:graphicFrameChg chg="add del mod">
          <ac:chgData name="Joan Viladomiu Tora" userId="769a1043-f370-4a5b-a0e1-4e76db633912" providerId="ADAL" clId="{B914494A-F278-4C75-B5BF-52D7B31E87BB}" dt="2022-12-17T16:40:02.608" v="6741"/>
          <ac:graphicFrameMkLst>
            <pc:docMk/>
            <pc:sldMk cId="4005771017" sldId="261"/>
            <ac:graphicFrameMk id="34" creationId="{0250539B-BC68-4321-89A8-B7CE01A305B2}"/>
          </ac:graphicFrameMkLst>
        </pc:graphicFrameChg>
        <pc:picChg chg="add mod topLvl">
          <ac:chgData name="Joan Viladomiu Tora" userId="769a1043-f370-4a5b-a0e1-4e76db633912" providerId="ADAL" clId="{B914494A-F278-4C75-B5BF-52D7B31E87BB}" dt="2022-12-22T12:12:33.906" v="9200" actId="14100"/>
          <ac:picMkLst>
            <pc:docMk/>
            <pc:sldMk cId="4005771017" sldId="261"/>
            <ac:picMk id="5" creationId="{8A8D51FE-BE03-4111-BFF2-07D354D0F68E}"/>
          </ac:picMkLst>
        </pc:picChg>
        <pc:picChg chg="add mod topLvl">
          <ac:chgData name="Joan Viladomiu Tora" userId="769a1043-f370-4a5b-a0e1-4e76db633912" providerId="ADAL" clId="{B914494A-F278-4C75-B5BF-52D7B31E87BB}" dt="2022-12-22T12:12:48.519" v="9202" actId="465"/>
          <ac:picMkLst>
            <pc:docMk/>
            <pc:sldMk cId="4005771017" sldId="261"/>
            <ac:picMk id="7" creationId="{C1F8FD90-1CC8-481C-89E1-BD63EA813376}"/>
          </ac:picMkLst>
        </pc:picChg>
        <pc:picChg chg="add mod topLvl">
          <ac:chgData name="Joan Viladomiu Tora" userId="769a1043-f370-4a5b-a0e1-4e76db633912" providerId="ADAL" clId="{B914494A-F278-4C75-B5BF-52D7B31E87BB}" dt="2022-12-22T12:12:43.194" v="9201" actId="1076"/>
          <ac:picMkLst>
            <pc:docMk/>
            <pc:sldMk cId="4005771017" sldId="261"/>
            <ac:picMk id="9" creationId="{252728A9-5170-4FB6-88B8-83F39B2DFC68}"/>
          </ac:picMkLst>
        </pc:picChg>
        <pc:picChg chg="add mod ord topLvl">
          <ac:chgData name="Joan Viladomiu Tora" userId="769a1043-f370-4a5b-a0e1-4e76db633912" providerId="ADAL" clId="{B914494A-F278-4C75-B5BF-52D7B31E87BB}" dt="2022-12-22T12:11:12.140" v="9178" actId="1076"/>
          <ac:picMkLst>
            <pc:docMk/>
            <pc:sldMk cId="4005771017" sldId="261"/>
            <ac:picMk id="48" creationId="{CDBC06E8-CB6A-4B13-88BB-20D16BFA2339}"/>
          </ac:picMkLst>
        </pc:picChg>
        <pc:picChg chg="add mod ord topLvl">
          <ac:chgData name="Joan Viladomiu Tora" userId="769a1043-f370-4a5b-a0e1-4e76db633912" providerId="ADAL" clId="{B914494A-F278-4C75-B5BF-52D7B31E87BB}" dt="2022-12-22T12:11:12.140" v="9178" actId="1076"/>
          <ac:picMkLst>
            <pc:docMk/>
            <pc:sldMk cId="4005771017" sldId="261"/>
            <ac:picMk id="50" creationId="{25350B5B-C70B-4EB5-A689-2E8815909A54}"/>
          </ac:picMkLst>
        </pc:picChg>
        <pc:cxnChg chg="add mod">
          <ac:chgData name="Joan Viladomiu Tora" userId="769a1043-f370-4a5b-a0e1-4e76db633912" providerId="ADAL" clId="{B914494A-F278-4C75-B5BF-52D7B31E87BB}" dt="2022-12-22T12:11:21.218" v="9180" actId="1076"/>
          <ac:cxnSpMkLst>
            <pc:docMk/>
            <pc:sldMk cId="4005771017" sldId="261"/>
            <ac:cxnSpMk id="11" creationId="{4D3CF87E-39A8-4073-A4B4-3E1383898FD9}"/>
          </ac:cxnSpMkLst>
        </pc:cxnChg>
        <pc:cxnChg chg="add mod">
          <ac:chgData name="Joan Viladomiu Tora" userId="769a1043-f370-4a5b-a0e1-4e76db633912" providerId="ADAL" clId="{B914494A-F278-4C75-B5BF-52D7B31E87BB}" dt="2022-12-22T12:11:21.218" v="9180" actId="1076"/>
          <ac:cxnSpMkLst>
            <pc:docMk/>
            <pc:sldMk cId="4005771017" sldId="261"/>
            <ac:cxnSpMk id="22" creationId="{674DF50B-0598-4BE4-A5D9-39E48505705C}"/>
          </ac:cxnSpMkLst>
        </pc:cxnChg>
      </pc:sldChg>
      <pc:sldChg chg="addSp delSp modSp add mod modNotesTx">
        <pc:chgData name="Joan Viladomiu Tora" userId="769a1043-f370-4a5b-a0e1-4e76db633912" providerId="ADAL" clId="{B914494A-F278-4C75-B5BF-52D7B31E87BB}" dt="2022-12-22T15:39:57.451" v="13889" actId="14100"/>
        <pc:sldMkLst>
          <pc:docMk/>
          <pc:sldMk cId="1553386437" sldId="262"/>
        </pc:sldMkLst>
        <pc:spChg chg="add del mod modVis">
          <ac:chgData name="Joan Viladomiu Tora" userId="769a1043-f370-4a5b-a0e1-4e76db633912" providerId="ADAL" clId="{B914494A-F278-4C75-B5BF-52D7B31E87BB}" dt="2022-12-21T22:35:06.528" v="7879"/>
          <ac:spMkLst>
            <pc:docMk/>
            <pc:sldMk cId="1553386437" sldId="262"/>
            <ac:spMk id="2" creationId="{2869CC91-11FD-45D7-840C-568E1A29D5D3}"/>
          </ac:spMkLst>
        </pc:spChg>
        <pc:spChg chg="add del mod modVis">
          <ac:chgData name="Joan Viladomiu Tora" userId="769a1043-f370-4a5b-a0e1-4e76db633912" providerId="ADAL" clId="{B914494A-F278-4C75-B5BF-52D7B31E87BB}" dt="2022-12-17T14:40:19.470" v="4241"/>
          <ac:spMkLst>
            <pc:docMk/>
            <pc:sldMk cId="1553386437" sldId="262"/>
            <ac:spMk id="2" creationId="{FFAC583E-4656-4808-9F5B-165062B828EF}"/>
          </ac:spMkLst>
        </pc:spChg>
        <pc:spChg chg="mod">
          <ac:chgData name="Joan Viladomiu Tora" userId="769a1043-f370-4a5b-a0e1-4e76db633912" providerId="ADAL" clId="{B914494A-F278-4C75-B5BF-52D7B31E87BB}" dt="2022-12-21T22:35:06.441" v="7840" actId="948"/>
          <ac:spMkLst>
            <pc:docMk/>
            <pc:sldMk cId="1553386437" sldId="262"/>
            <ac:spMk id="3" creationId="{EAFFC853-3152-416C-8C98-D3A291F725F1}"/>
          </ac:spMkLst>
        </pc:spChg>
        <pc:spChg chg="add del mod modVis">
          <ac:chgData name="Joan Viladomiu Tora" userId="769a1043-f370-4a5b-a0e1-4e76db633912" providerId="ADAL" clId="{B914494A-F278-4C75-B5BF-52D7B31E87BB}" dt="2022-12-17T14:40:52.278" v="4674"/>
          <ac:spMkLst>
            <pc:docMk/>
            <pc:sldMk cId="1553386437" sldId="262"/>
            <ac:spMk id="5" creationId="{3366BF21-8831-47D2-A829-6D1E71991C24}"/>
          </ac:spMkLst>
        </pc:spChg>
        <pc:spChg chg="add del mod modVis">
          <ac:chgData name="Joan Viladomiu Tora" userId="769a1043-f370-4a5b-a0e1-4e76db633912" providerId="ADAL" clId="{B914494A-F278-4C75-B5BF-52D7B31E87BB}" dt="2022-12-17T14:40:53.150" v="4717"/>
          <ac:spMkLst>
            <pc:docMk/>
            <pc:sldMk cId="1553386437" sldId="262"/>
            <ac:spMk id="6" creationId="{7C569328-4E02-4F08-9316-717CFF61709B}"/>
          </ac:spMkLst>
        </pc:spChg>
        <pc:spChg chg="add del mod">
          <ac:chgData name="Joan Viladomiu Tora" userId="769a1043-f370-4a5b-a0e1-4e76db633912" providerId="ADAL" clId="{B914494A-F278-4C75-B5BF-52D7B31E87BB}" dt="2022-12-21T19:37:56.345" v="7442" actId="478"/>
          <ac:spMkLst>
            <pc:docMk/>
            <pc:sldMk cId="1553386437" sldId="262"/>
            <ac:spMk id="7" creationId="{FD9B159C-B771-46CB-A33E-84D98D924A94}"/>
          </ac:spMkLst>
        </pc:spChg>
        <pc:spChg chg="add del mod">
          <ac:chgData name="Joan Viladomiu Tora" userId="769a1043-f370-4a5b-a0e1-4e76db633912" providerId="ADAL" clId="{B914494A-F278-4C75-B5BF-52D7B31E87BB}" dt="2022-12-22T14:45:46.983" v="11704" actId="478"/>
          <ac:spMkLst>
            <pc:docMk/>
            <pc:sldMk cId="1553386437" sldId="262"/>
            <ac:spMk id="8" creationId="{9CD17D66-8099-4416-A8BE-0691C9034DA0}"/>
          </ac:spMkLst>
        </pc:spChg>
        <pc:spChg chg="add del mod">
          <ac:chgData name="Joan Viladomiu Tora" userId="769a1043-f370-4a5b-a0e1-4e76db633912" providerId="ADAL" clId="{B914494A-F278-4C75-B5BF-52D7B31E87BB}" dt="2022-12-22T14:04:31.231" v="11004" actId="478"/>
          <ac:spMkLst>
            <pc:docMk/>
            <pc:sldMk cId="1553386437" sldId="262"/>
            <ac:spMk id="9" creationId="{AE700DC2-4782-4440-9F9E-597ADD1B88A4}"/>
          </ac:spMkLst>
        </pc:spChg>
        <pc:spChg chg="add del mod">
          <ac:chgData name="Joan Viladomiu Tora" userId="769a1043-f370-4a5b-a0e1-4e76db633912" providerId="ADAL" clId="{B914494A-F278-4C75-B5BF-52D7B31E87BB}" dt="2022-12-22T14:04:36.463" v="11006" actId="478"/>
          <ac:spMkLst>
            <pc:docMk/>
            <pc:sldMk cId="1553386437" sldId="262"/>
            <ac:spMk id="10" creationId="{9F6F5B6A-0246-4815-8A75-D932E8B86888}"/>
          </ac:spMkLst>
        </pc:spChg>
        <pc:spChg chg="add del mod">
          <ac:chgData name="Joan Viladomiu Tora" userId="769a1043-f370-4a5b-a0e1-4e76db633912" providerId="ADAL" clId="{B914494A-F278-4C75-B5BF-52D7B31E87BB}" dt="2022-12-22T14:04:40.861" v="11008" actId="478"/>
          <ac:spMkLst>
            <pc:docMk/>
            <pc:sldMk cId="1553386437" sldId="262"/>
            <ac:spMk id="11" creationId="{3FE8D7EA-3DEE-467F-AD87-7900807E5E7E}"/>
          </ac:spMkLst>
        </pc:spChg>
        <pc:spChg chg="add mod topLvl">
          <ac:chgData name="Joan Viladomiu Tora" userId="769a1043-f370-4a5b-a0e1-4e76db633912" providerId="ADAL" clId="{B914494A-F278-4C75-B5BF-52D7B31E87BB}" dt="2022-12-22T15:39:49.013" v="13887" actId="14100"/>
          <ac:spMkLst>
            <pc:docMk/>
            <pc:sldMk cId="1553386437" sldId="262"/>
            <ac:spMk id="12" creationId="{74B0E9D8-C878-4D83-97CF-3EA2C5E630F1}"/>
          </ac:spMkLst>
        </pc:spChg>
        <pc:spChg chg="add mod topLvl">
          <ac:chgData name="Joan Viladomiu Tora" userId="769a1043-f370-4a5b-a0e1-4e76db633912" providerId="ADAL" clId="{B914494A-F278-4C75-B5BF-52D7B31E87BB}" dt="2022-12-22T15:39:49.013" v="13887" actId="14100"/>
          <ac:spMkLst>
            <pc:docMk/>
            <pc:sldMk cId="1553386437" sldId="262"/>
            <ac:spMk id="14" creationId="{13A04236-59FF-43CA-B58A-60440E9A3682}"/>
          </ac:spMkLst>
        </pc:spChg>
        <pc:spChg chg="add mod topLvl">
          <ac:chgData name="Joan Viladomiu Tora" userId="769a1043-f370-4a5b-a0e1-4e76db633912" providerId="ADAL" clId="{B914494A-F278-4C75-B5BF-52D7B31E87BB}" dt="2022-12-22T15:39:49.013" v="13887" actId="14100"/>
          <ac:spMkLst>
            <pc:docMk/>
            <pc:sldMk cId="1553386437" sldId="262"/>
            <ac:spMk id="16" creationId="{377313F6-0E0B-44EC-8929-6C65B75FCC34}"/>
          </ac:spMkLst>
        </pc:spChg>
        <pc:spChg chg="add del mod">
          <ac:chgData name="Joan Viladomiu Tora" userId="769a1043-f370-4a5b-a0e1-4e76db633912" providerId="ADAL" clId="{B914494A-F278-4C75-B5BF-52D7B31E87BB}" dt="2022-12-22T14:46:11.786" v="11712"/>
          <ac:spMkLst>
            <pc:docMk/>
            <pc:sldMk cId="1553386437" sldId="262"/>
            <ac:spMk id="18" creationId="{B547D841-CBA6-4E8D-A379-D2E2C6901A83}"/>
          </ac:spMkLst>
        </pc:spChg>
        <pc:spChg chg="add del mod">
          <ac:chgData name="Joan Viladomiu Tora" userId="769a1043-f370-4a5b-a0e1-4e76db633912" providerId="ADAL" clId="{B914494A-F278-4C75-B5BF-52D7B31E87BB}" dt="2022-12-22T14:46:11.786" v="11712"/>
          <ac:spMkLst>
            <pc:docMk/>
            <pc:sldMk cId="1553386437" sldId="262"/>
            <ac:spMk id="20" creationId="{F8634B39-9461-4D27-9DC5-2A44AA4B7211}"/>
          </ac:spMkLst>
        </pc:spChg>
        <pc:spChg chg="add del mod">
          <ac:chgData name="Joan Viladomiu Tora" userId="769a1043-f370-4a5b-a0e1-4e76db633912" providerId="ADAL" clId="{B914494A-F278-4C75-B5BF-52D7B31E87BB}" dt="2022-12-22T14:46:11.786" v="11712"/>
          <ac:spMkLst>
            <pc:docMk/>
            <pc:sldMk cId="1553386437" sldId="262"/>
            <ac:spMk id="22" creationId="{C935B930-70C3-45B2-A6F3-725CF208E910}"/>
          </ac:spMkLst>
        </pc:spChg>
        <pc:spChg chg="mod topLvl">
          <ac:chgData name="Joan Viladomiu Tora" userId="769a1043-f370-4a5b-a0e1-4e76db633912" providerId="ADAL" clId="{B914494A-F278-4C75-B5BF-52D7B31E87BB}" dt="2022-12-22T15:39:49.013" v="13887" actId="14100"/>
          <ac:spMkLst>
            <pc:docMk/>
            <pc:sldMk cId="1553386437" sldId="262"/>
            <ac:spMk id="25" creationId="{EB03CE3D-72D2-4B83-B2C5-774E5C7124A5}"/>
          </ac:spMkLst>
        </pc:spChg>
        <pc:spChg chg="mod">
          <ac:chgData name="Joan Viladomiu Tora" userId="769a1043-f370-4a5b-a0e1-4e76db633912" providerId="ADAL" clId="{B914494A-F278-4C75-B5BF-52D7B31E87BB}" dt="2022-12-22T14:46:21.675" v="11715" actId="571"/>
          <ac:spMkLst>
            <pc:docMk/>
            <pc:sldMk cId="1553386437" sldId="262"/>
            <ac:spMk id="28" creationId="{EDF37AF1-F6FA-41EB-8C9B-547E248ED949}"/>
          </ac:spMkLst>
        </pc:spChg>
        <pc:spChg chg="mod">
          <ac:chgData name="Joan Viladomiu Tora" userId="769a1043-f370-4a5b-a0e1-4e76db633912" providerId="ADAL" clId="{B914494A-F278-4C75-B5BF-52D7B31E87BB}" dt="2022-12-22T14:46:32.184" v="11719" actId="571"/>
          <ac:spMkLst>
            <pc:docMk/>
            <pc:sldMk cId="1553386437" sldId="262"/>
            <ac:spMk id="31" creationId="{88698E1C-CCCB-4963-A6FF-0DDAA2DA7B1C}"/>
          </ac:spMkLst>
        </pc:spChg>
        <pc:spChg chg="add mod topLvl">
          <ac:chgData name="Joan Viladomiu Tora" userId="769a1043-f370-4a5b-a0e1-4e76db633912" providerId="ADAL" clId="{B914494A-F278-4C75-B5BF-52D7B31E87BB}" dt="2022-12-22T15:39:19.001" v="13880" actId="12789"/>
          <ac:spMkLst>
            <pc:docMk/>
            <pc:sldMk cId="1553386437" sldId="262"/>
            <ac:spMk id="37" creationId="{6545B85D-9D27-40D5-8705-947A4DE6700E}"/>
          </ac:spMkLst>
        </pc:spChg>
        <pc:spChg chg="add mod topLvl">
          <ac:chgData name="Joan Viladomiu Tora" userId="769a1043-f370-4a5b-a0e1-4e76db633912" providerId="ADAL" clId="{B914494A-F278-4C75-B5BF-52D7B31E87BB}" dt="2022-12-22T15:39:19.001" v="13880" actId="12789"/>
          <ac:spMkLst>
            <pc:docMk/>
            <pc:sldMk cId="1553386437" sldId="262"/>
            <ac:spMk id="38" creationId="{56A1913C-39DE-4688-8E18-325027494AAA}"/>
          </ac:spMkLst>
        </pc:spChg>
        <pc:spChg chg="add mod topLvl">
          <ac:chgData name="Joan Viladomiu Tora" userId="769a1043-f370-4a5b-a0e1-4e76db633912" providerId="ADAL" clId="{B914494A-F278-4C75-B5BF-52D7B31E87BB}" dt="2022-12-22T15:39:19.001" v="13880" actId="12789"/>
          <ac:spMkLst>
            <pc:docMk/>
            <pc:sldMk cId="1553386437" sldId="262"/>
            <ac:spMk id="39" creationId="{B77CE0F3-26B6-428F-B7CE-B71123775EE0}"/>
          </ac:spMkLst>
        </pc:spChg>
        <pc:spChg chg="add mod topLvl">
          <ac:chgData name="Joan Viladomiu Tora" userId="769a1043-f370-4a5b-a0e1-4e76db633912" providerId="ADAL" clId="{B914494A-F278-4C75-B5BF-52D7B31E87BB}" dt="2022-12-22T15:39:19.001" v="13880" actId="12789"/>
          <ac:spMkLst>
            <pc:docMk/>
            <pc:sldMk cId="1553386437" sldId="262"/>
            <ac:spMk id="40" creationId="{01B87AAF-2731-4974-A309-14D9600BA1A0}"/>
          </ac:spMkLst>
        </pc:spChg>
        <pc:spChg chg="add del mod">
          <ac:chgData name="Joan Viladomiu Tora" userId="769a1043-f370-4a5b-a0e1-4e76db633912" providerId="ADAL" clId="{B914494A-F278-4C75-B5BF-52D7B31E87BB}" dt="2022-12-22T14:54:04.395" v="12473" actId="478"/>
          <ac:spMkLst>
            <pc:docMk/>
            <pc:sldMk cId="1553386437" sldId="262"/>
            <ac:spMk id="45" creationId="{B656265B-58F2-43B6-BD69-869C0DAD6D98}"/>
          </ac:spMkLst>
        </pc:spChg>
        <pc:spChg chg="add del mod">
          <ac:chgData name="Joan Viladomiu Tora" userId="769a1043-f370-4a5b-a0e1-4e76db633912" providerId="ADAL" clId="{B914494A-F278-4C75-B5BF-52D7B31E87BB}" dt="2022-12-22T14:54:04.395" v="12473" actId="478"/>
          <ac:spMkLst>
            <pc:docMk/>
            <pc:sldMk cId="1553386437" sldId="262"/>
            <ac:spMk id="46" creationId="{EB896643-4F17-42C4-89E9-843E8FD04956}"/>
          </ac:spMkLst>
        </pc:spChg>
        <pc:grpChg chg="mod">
          <ac:chgData name="Joan Viladomiu Tora" userId="769a1043-f370-4a5b-a0e1-4e76db633912" providerId="ADAL" clId="{B914494A-F278-4C75-B5BF-52D7B31E87BB}" dt="2022-12-17T14:38:39.707" v="3381"/>
          <ac:grpSpMkLst>
            <pc:docMk/>
            <pc:sldMk cId="1553386437" sldId="262"/>
            <ac:grpSpMk id="1" creationId="{00000000-0000-0000-0000-000000000000}"/>
          </ac:grpSpMkLst>
        </pc:grpChg>
        <pc:grpChg chg="add del mod topLvl">
          <ac:chgData name="Joan Viladomiu Tora" userId="769a1043-f370-4a5b-a0e1-4e76db633912" providerId="ADAL" clId="{B914494A-F278-4C75-B5BF-52D7B31E87BB}" dt="2022-12-22T15:39:32.123" v="13881" actId="165"/>
          <ac:grpSpMkLst>
            <pc:docMk/>
            <pc:sldMk cId="1553386437" sldId="262"/>
            <ac:grpSpMk id="2" creationId="{BA837A63-4629-46FC-8286-0DFE85F5E432}"/>
          </ac:grpSpMkLst>
        </pc:grpChg>
        <pc:grpChg chg="add del mod topLvl">
          <ac:chgData name="Joan Viladomiu Tora" userId="769a1043-f370-4a5b-a0e1-4e76db633912" providerId="ADAL" clId="{B914494A-F278-4C75-B5BF-52D7B31E87BB}" dt="2022-12-22T15:39:32.123" v="13881" actId="165"/>
          <ac:grpSpMkLst>
            <pc:docMk/>
            <pc:sldMk cId="1553386437" sldId="262"/>
            <ac:grpSpMk id="5" creationId="{FB98C8F4-D2B7-4408-887E-07AE248716EA}"/>
          </ac:grpSpMkLst>
        </pc:grpChg>
        <pc:grpChg chg="add del mod topLvl">
          <ac:chgData name="Joan Viladomiu Tora" userId="769a1043-f370-4a5b-a0e1-4e76db633912" providerId="ADAL" clId="{B914494A-F278-4C75-B5BF-52D7B31E87BB}" dt="2022-12-22T15:39:32.123" v="13881" actId="165"/>
          <ac:grpSpMkLst>
            <pc:docMk/>
            <pc:sldMk cId="1553386437" sldId="262"/>
            <ac:grpSpMk id="6" creationId="{2B005CC2-DE9E-4909-ADD4-AA2748BF7D9C}"/>
          </ac:grpSpMkLst>
        </pc:grpChg>
        <pc:grpChg chg="add del mod topLvl">
          <ac:chgData name="Joan Viladomiu Tora" userId="769a1043-f370-4a5b-a0e1-4e76db633912" providerId="ADAL" clId="{B914494A-F278-4C75-B5BF-52D7B31E87BB}" dt="2022-12-22T15:39:32.123" v="13881" actId="165"/>
          <ac:grpSpMkLst>
            <pc:docMk/>
            <pc:sldMk cId="1553386437" sldId="262"/>
            <ac:grpSpMk id="24" creationId="{B95F62E1-152F-4FB0-98E6-2474000E2AC0}"/>
          </ac:grpSpMkLst>
        </pc:grpChg>
        <pc:grpChg chg="add del mod">
          <ac:chgData name="Joan Viladomiu Tora" userId="769a1043-f370-4a5b-a0e1-4e76db633912" providerId="ADAL" clId="{B914494A-F278-4C75-B5BF-52D7B31E87BB}" dt="2022-12-22T14:46:42.733" v="11722" actId="478"/>
          <ac:grpSpMkLst>
            <pc:docMk/>
            <pc:sldMk cId="1553386437" sldId="262"/>
            <ac:grpSpMk id="27" creationId="{14152948-D341-4E71-AA4B-F6341B090237}"/>
          </ac:grpSpMkLst>
        </pc:grpChg>
        <pc:grpChg chg="add del mod">
          <ac:chgData name="Joan Viladomiu Tora" userId="769a1043-f370-4a5b-a0e1-4e76db633912" providerId="ADAL" clId="{B914494A-F278-4C75-B5BF-52D7B31E87BB}" dt="2022-12-22T14:46:42.733" v="11722" actId="478"/>
          <ac:grpSpMkLst>
            <pc:docMk/>
            <pc:sldMk cId="1553386437" sldId="262"/>
            <ac:grpSpMk id="30" creationId="{B7A850DE-E253-45B1-B6A1-C21FD46B7981}"/>
          </ac:grpSpMkLst>
        </pc:grpChg>
        <pc:grpChg chg="add del mod">
          <ac:chgData name="Joan Viladomiu Tora" userId="769a1043-f370-4a5b-a0e1-4e76db633912" providerId="ADAL" clId="{B914494A-F278-4C75-B5BF-52D7B31E87BB}" dt="2022-12-22T14:54:27.914" v="12479" actId="165"/>
          <ac:grpSpMkLst>
            <pc:docMk/>
            <pc:sldMk cId="1553386437" sldId="262"/>
            <ac:grpSpMk id="41" creationId="{CC1CE3B9-70FA-4B9A-99F7-B3EE9175C47A}"/>
          </ac:grpSpMkLst>
        </pc:grpChg>
        <pc:grpChg chg="add del mod">
          <ac:chgData name="Joan Viladomiu Tora" userId="769a1043-f370-4a5b-a0e1-4e76db633912" providerId="ADAL" clId="{B914494A-F278-4C75-B5BF-52D7B31E87BB}" dt="2022-12-22T14:54:27.914" v="12479" actId="165"/>
          <ac:grpSpMkLst>
            <pc:docMk/>
            <pc:sldMk cId="1553386437" sldId="262"/>
            <ac:grpSpMk id="42" creationId="{E2C98BDA-4166-47D3-B52F-398BAEA99F82}"/>
          </ac:grpSpMkLst>
        </pc:grpChg>
        <pc:grpChg chg="add del mod">
          <ac:chgData name="Joan Viladomiu Tora" userId="769a1043-f370-4a5b-a0e1-4e76db633912" providerId="ADAL" clId="{B914494A-F278-4C75-B5BF-52D7B31E87BB}" dt="2022-12-22T14:54:27.914" v="12479" actId="165"/>
          <ac:grpSpMkLst>
            <pc:docMk/>
            <pc:sldMk cId="1553386437" sldId="262"/>
            <ac:grpSpMk id="43" creationId="{2BAFF889-93CF-4B33-B50D-F7830D7BBBDD}"/>
          </ac:grpSpMkLst>
        </pc:grpChg>
        <pc:grpChg chg="add del mod">
          <ac:chgData name="Joan Viladomiu Tora" userId="769a1043-f370-4a5b-a0e1-4e76db633912" providerId="ADAL" clId="{B914494A-F278-4C75-B5BF-52D7B31E87BB}" dt="2022-12-22T14:54:27.914" v="12479" actId="165"/>
          <ac:grpSpMkLst>
            <pc:docMk/>
            <pc:sldMk cId="1553386437" sldId="262"/>
            <ac:grpSpMk id="44" creationId="{3CDD21D1-32F7-48E1-B117-F56B0F78D706}"/>
          </ac:grpSpMkLst>
        </pc:grpChg>
        <pc:grpChg chg="add del mod">
          <ac:chgData name="Joan Viladomiu Tora" userId="769a1043-f370-4a5b-a0e1-4e76db633912" providerId="ADAL" clId="{B914494A-F278-4C75-B5BF-52D7B31E87BB}" dt="2022-12-22T15:39:02.489" v="13878" actId="165"/>
          <ac:grpSpMkLst>
            <pc:docMk/>
            <pc:sldMk cId="1553386437" sldId="262"/>
            <ac:grpSpMk id="47" creationId="{62E50B72-28F6-477F-8ACB-12067B89EC86}"/>
          </ac:grpSpMkLst>
        </pc:grpChg>
        <pc:grpChg chg="add del mod">
          <ac:chgData name="Joan Viladomiu Tora" userId="769a1043-f370-4a5b-a0e1-4e76db633912" providerId="ADAL" clId="{B914494A-F278-4C75-B5BF-52D7B31E87BB}" dt="2022-12-22T15:39:02.489" v="13878" actId="165"/>
          <ac:grpSpMkLst>
            <pc:docMk/>
            <pc:sldMk cId="1553386437" sldId="262"/>
            <ac:grpSpMk id="48" creationId="{7051001F-625E-4484-9F2A-C3CF52E765DD}"/>
          </ac:grpSpMkLst>
        </pc:grpChg>
        <pc:grpChg chg="add del mod">
          <ac:chgData name="Joan Viladomiu Tora" userId="769a1043-f370-4a5b-a0e1-4e76db633912" providerId="ADAL" clId="{B914494A-F278-4C75-B5BF-52D7B31E87BB}" dt="2022-12-22T15:39:02.489" v="13878" actId="165"/>
          <ac:grpSpMkLst>
            <pc:docMk/>
            <pc:sldMk cId="1553386437" sldId="262"/>
            <ac:grpSpMk id="49" creationId="{A198509B-5183-463D-BCA6-DA0B5A6A90DD}"/>
          </ac:grpSpMkLst>
        </pc:grpChg>
        <pc:grpChg chg="add del mod">
          <ac:chgData name="Joan Viladomiu Tora" userId="769a1043-f370-4a5b-a0e1-4e76db633912" providerId="ADAL" clId="{B914494A-F278-4C75-B5BF-52D7B31E87BB}" dt="2022-12-22T15:39:02.489" v="13878" actId="165"/>
          <ac:grpSpMkLst>
            <pc:docMk/>
            <pc:sldMk cId="1553386437" sldId="262"/>
            <ac:grpSpMk id="50" creationId="{C69E564C-1901-440E-8585-509C7DC5BC7F}"/>
          </ac:grpSpMkLst>
        </pc:grpChg>
        <pc:graphicFrameChg chg="mod">
          <ac:chgData name="Joan Viladomiu Tora" userId="769a1043-f370-4a5b-a0e1-4e76db633912" providerId="ADAL" clId="{B914494A-F278-4C75-B5BF-52D7B31E87BB}" dt="2022-12-21T22:35:06.537" v="7881"/>
          <ac:graphicFrameMkLst>
            <pc:docMk/>
            <pc:sldMk cId="1553386437" sldId="262"/>
            <ac:graphicFrameMk id="4" creationId="{637DE2E9-A32B-4253-BD3A-484BBC42BC88}"/>
          </ac:graphicFrameMkLst>
        </pc:graphicFrameChg>
        <pc:picChg chg="add mod topLvl">
          <ac:chgData name="Joan Viladomiu Tora" userId="769a1043-f370-4a5b-a0e1-4e76db633912" providerId="ADAL" clId="{B914494A-F278-4C75-B5BF-52D7B31E87BB}" dt="2022-12-22T15:39:57.451" v="13889" actId="14100"/>
          <ac:picMkLst>
            <pc:docMk/>
            <pc:sldMk cId="1553386437" sldId="262"/>
            <ac:picMk id="13" creationId="{92DF43DC-2F20-41AF-B5A4-5D757BA619F1}"/>
          </ac:picMkLst>
        </pc:picChg>
        <pc:picChg chg="add mod topLvl">
          <ac:chgData name="Joan Viladomiu Tora" userId="769a1043-f370-4a5b-a0e1-4e76db633912" providerId="ADAL" clId="{B914494A-F278-4C75-B5BF-52D7B31E87BB}" dt="2022-12-22T15:39:57.451" v="13889" actId="14100"/>
          <ac:picMkLst>
            <pc:docMk/>
            <pc:sldMk cId="1553386437" sldId="262"/>
            <ac:picMk id="15" creationId="{580E9095-5413-447E-B4DA-678D640EF9BA}"/>
          </ac:picMkLst>
        </pc:picChg>
        <pc:picChg chg="add mod topLvl">
          <ac:chgData name="Joan Viladomiu Tora" userId="769a1043-f370-4a5b-a0e1-4e76db633912" providerId="ADAL" clId="{B914494A-F278-4C75-B5BF-52D7B31E87BB}" dt="2022-12-22T15:39:57.451" v="13889" actId="14100"/>
          <ac:picMkLst>
            <pc:docMk/>
            <pc:sldMk cId="1553386437" sldId="262"/>
            <ac:picMk id="17" creationId="{B8FD9597-1D29-4007-94AC-60706D97A6DC}"/>
          </ac:picMkLst>
        </pc:picChg>
        <pc:picChg chg="add del mod">
          <ac:chgData name="Joan Viladomiu Tora" userId="769a1043-f370-4a5b-a0e1-4e76db633912" providerId="ADAL" clId="{B914494A-F278-4C75-B5BF-52D7B31E87BB}" dt="2022-12-22T14:46:11.786" v="11712"/>
          <ac:picMkLst>
            <pc:docMk/>
            <pc:sldMk cId="1553386437" sldId="262"/>
            <ac:picMk id="19" creationId="{40FCC82F-A6F0-4F6C-8093-51A89D4FB40B}"/>
          </ac:picMkLst>
        </pc:picChg>
        <pc:picChg chg="add del mod">
          <ac:chgData name="Joan Viladomiu Tora" userId="769a1043-f370-4a5b-a0e1-4e76db633912" providerId="ADAL" clId="{B914494A-F278-4C75-B5BF-52D7B31E87BB}" dt="2022-12-22T14:46:11.786" v="11712"/>
          <ac:picMkLst>
            <pc:docMk/>
            <pc:sldMk cId="1553386437" sldId="262"/>
            <ac:picMk id="21" creationId="{A1772D76-C197-44DE-8A45-1A56C6AF105D}"/>
          </ac:picMkLst>
        </pc:picChg>
        <pc:picChg chg="add del mod">
          <ac:chgData name="Joan Viladomiu Tora" userId="769a1043-f370-4a5b-a0e1-4e76db633912" providerId="ADAL" clId="{B914494A-F278-4C75-B5BF-52D7B31E87BB}" dt="2022-12-22T14:46:11.786" v="11712"/>
          <ac:picMkLst>
            <pc:docMk/>
            <pc:sldMk cId="1553386437" sldId="262"/>
            <ac:picMk id="23" creationId="{CB54A2DE-6E31-4318-B6E7-23E267D45657}"/>
          </ac:picMkLst>
        </pc:picChg>
        <pc:picChg chg="mod topLvl">
          <ac:chgData name="Joan Viladomiu Tora" userId="769a1043-f370-4a5b-a0e1-4e76db633912" providerId="ADAL" clId="{B914494A-F278-4C75-B5BF-52D7B31E87BB}" dt="2022-12-22T15:39:57.451" v="13889" actId="14100"/>
          <ac:picMkLst>
            <pc:docMk/>
            <pc:sldMk cId="1553386437" sldId="262"/>
            <ac:picMk id="26" creationId="{090C9651-070D-416B-A229-EF54112E5D83}"/>
          </ac:picMkLst>
        </pc:picChg>
        <pc:picChg chg="mod">
          <ac:chgData name="Joan Viladomiu Tora" userId="769a1043-f370-4a5b-a0e1-4e76db633912" providerId="ADAL" clId="{B914494A-F278-4C75-B5BF-52D7B31E87BB}" dt="2022-12-22T14:46:21.675" v="11715" actId="571"/>
          <ac:picMkLst>
            <pc:docMk/>
            <pc:sldMk cId="1553386437" sldId="262"/>
            <ac:picMk id="29" creationId="{5148D4A4-84B5-4C88-AB90-94802A1EF9C4}"/>
          </ac:picMkLst>
        </pc:picChg>
        <pc:picChg chg="mod">
          <ac:chgData name="Joan Viladomiu Tora" userId="769a1043-f370-4a5b-a0e1-4e76db633912" providerId="ADAL" clId="{B914494A-F278-4C75-B5BF-52D7B31E87BB}" dt="2022-12-22T14:46:32.184" v="11719" actId="571"/>
          <ac:picMkLst>
            <pc:docMk/>
            <pc:sldMk cId="1553386437" sldId="262"/>
            <ac:picMk id="32" creationId="{6C4A8B14-B214-4B8B-B98D-0F00E9A7B398}"/>
          </ac:picMkLst>
        </pc:picChg>
        <pc:cxnChg chg="add mod topLvl">
          <ac:chgData name="Joan Viladomiu Tora" userId="769a1043-f370-4a5b-a0e1-4e76db633912" providerId="ADAL" clId="{B914494A-F278-4C75-B5BF-52D7B31E87BB}" dt="2022-12-22T15:39:02.489" v="13878" actId="165"/>
          <ac:cxnSpMkLst>
            <pc:docMk/>
            <pc:sldMk cId="1553386437" sldId="262"/>
            <ac:cxnSpMk id="33" creationId="{2D432D25-D859-4DA3-B5EF-1677E84F2399}"/>
          </ac:cxnSpMkLst>
        </pc:cxnChg>
        <pc:cxnChg chg="add mod topLvl">
          <ac:chgData name="Joan Viladomiu Tora" userId="769a1043-f370-4a5b-a0e1-4e76db633912" providerId="ADAL" clId="{B914494A-F278-4C75-B5BF-52D7B31E87BB}" dt="2022-12-22T15:39:02.489" v="13878" actId="165"/>
          <ac:cxnSpMkLst>
            <pc:docMk/>
            <pc:sldMk cId="1553386437" sldId="262"/>
            <ac:cxnSpMk id="34" creationId="{F2B1D29A-5818-4040-B926-31A31E7483D5}"/>
          </ac:cxnSpMkLst>
        </pc:cxnChg>
        <pc:cxnChg chg="add mod topLvl">
          <ac:chgData name="Joan Viladomiu Tora" userId="769a1043-f370-4a5b-a0e1-4e76db633912" providerId="ADAL" clId="{B914494A-F278-4C75-B5BF-52D7B31E87BB}" dt="2022-12-22T15:39:02.489" v="13878" actId="165"/>
          <ac:cxnSpMkLst>
            <pc:docMk/>
            <pc:sldMk cId="1553386437" sldId="262"/>
            <ac:cxnSpMk id="35" creationId="{BB2FA4BE-ACDF-4058-A1B1-9BB0B3DB15E9}"/>
          </ac:cxnSpMkLst>
        </pc:cxnChg>
        <pc:cxnChg chg="add mod topLvl">
          <ac:chgData name="Joan Viladomiu Tora" userId="769a1043-f370-4a5b-a0e1-4e76db633912" providerId="ADAL" clId="{B914494A-F278-4C75-B5BF-52D7B31E87BB}" dt="2022-12-22T15:39:02.489" v="13878" actId="165"/>
          <ac:cxnSpMkLst>
            <pc:docMk/>
            <pc:sldMk cId="1553386437" sldId="262"/>
            <ac:cxnSpMk id="36" creationId="{0A5CDAFF-C83A-4755-9843-C8E90EBAEA02}"/>
          </ac:cxnSpMkLst>
        </pc:cxnChg>
      </pc:sldChg>
      <pc:sldChg chg="addSp delSp modSp add mod addCm delCm modNotesTx">
        <pc:chgData name="Joan Viladomiu Tora" userId="769a1043-f370-4a5b-a0e1-4e76db633912" providerId="ADAL" clId="{B914494A-F278-4C75-B5BF-52D7B31E87BB}" dt="2022-12-22T15:43:43.882" v="14019"/>
        <pc:sldMkLst>
          <pc:docMk/>
          <pc:sldMk cId="347830822" sldId="263"/>
        </pc:sldMkLst>
        <pc:spChg chg="add del mod modVis">
          <ac:chgData name="Joan Viladomiu Tora" userId="769a1043-f370-4a5b-a0e1-4e76db633912" providerId="ADAL" clId="{B914494A-F278-4C75-B5BF-52D7B31E87BB}" dt="2022-12-17T14:39:41.858" v="4037"/>
          <ac:spMkLst>
            <pc:docMk/>
            <pc:sldMk cId="347830822" sldId="263"/>
            <ac:spMk id="2" creationId="{316476B3-A48B-4B0E-A755-10CE923A8E90}"/>
          </ac:spMkLst>
        </pc:spChg>
        <pc:spChg chg="add del mod modVis">
          <ac:chgData name="Joan Viladomiu Tora" userId="769a1043-f370-4a5b-a0e1-4e76db633912" providerId="ADAL" clId="{B914494A-F278-4C75-B5BF-52D7B31E87BB}" dt="2022-12-21T22:34:58.517" v="7792"/>
          <ac:spMkLst>
            <pc:docMk/>
            <pc:sldMk cId="347830822" sldId="263"/>
            <ac:spMk id="2" creationId="{C4B4C408-6D56-42DD-86DA-46DF509FCD5C}"/>
          </ac:spMkLst>
        </pc:spChg>
        <pc:spChg chg="mod">
          <ac:chgData name="Joan Viladomiu Tora" userId="769a1043-f370-4a5b-a0e1-4e76db633912" providerId="ADAL" clId="{B914494A-F278-4C75-B5BF-52D7B31E87BB}" dt="2022-12-22T15:43:43.816" v="13978" actId="948"/>
          <ac:spMkLst>
            <pc:docMk/>
            <pc:sldMk cId="347830822" sldId="263"/>
            <ac:spMk id="3" creationId="{EAFFC853-3152-416C-8C98-D3A291F725F1}"/>
          </ac:spMkLst>
        </pc:spChg>
        <pc:spChg chg="add del mod">
          <ac:chgData name="Joan Viladomiu Tora" userId="769a1043-f370-4a5b-a0e1-4e76db633912" providerId="ADAL" clId="{B914494A-F278-4C75-B5BF-52D7B31E87BB}" dt="2022-12-22T12:19:05.200" v="9351" actId="21"/>
          <ac:spMkLst>
            <pc:docMk/>
            <pc:sldMk cId="347830822" sldId="263"/>
            <ac:spMk id="5" creationId="{36E3AD72-97E3-4AFB-8D7C-044C830D3460}"/>
          </ac:spMkLst>
        </pc:spChg>
        <pc:spChg chg="add del mod modVis">
          <ac:chgData name="Joan Viladomiu Tora" userId="769a1043-f370-4a5b-a0e1-4e76db633912" providerId="ADAL" clId="{B914494A-F278-4C75-B5BF-52D7B31E87BB}" dt="2022-12-17T14:39:48.038" v="4092"/>
          <ac:spMkLst>
            <pc:docMk/>
            <pc:sldMk cId="347830822" sldId="263"/>
            <ac:spMk id="5" creationId="{48255927-6BCD-4F47-AF4B-C79F174FF17F}"/>
          </ac:spMkLst>
        </pc:spChg>
        <pc:spChg chg="add del mod modVis">
          <ac:chgData name="Joan Viladomiu Tora" userId="769a1043-f370-4a5b-a0e1-4e76db633912" providerId="ADAL" clId="{B914494A-F278-4C75-B5BF-52D7B31E87BB}" dt="2022-12-17T14:39:49.380" v="4140"/>
          <ac:spMkLst>
            <pc:docMk/>
            <pc:sldMk cId="347830822" sldId="263"/>
            <ac:spMk id="6" creationId="{5A7DC725-326A-4329-A756-505BB43E26FE}"/>
          </ac:spMkLst>
        </pc:spChg>
        <pc:spChg chg="add del mod">
          <ac:chgData name="Joan Viladomiu Tora" userId="769a1043-f370-4a5b-a0e1-4e76db633912" providerId="ADAL" clId="{B914494A-F278-4C75-B5BF-52D7B31E87BB}" dt="2022-12-22T12:19:05.200" v="9351" actId="21"/>
          <ac:spMkLst>
            <pc:docMk/>
            <pc:sldMk cId="347830822" sldId="263"/>
            <ac:spMk id="6" creationId="{C6D84425-C636-45E7-A118-10B620DD4D7E}"/>
          </ac:spMkLst>
        </pc:spChg>
        <pc:spChg chg="add del mod">
          <ac:chgData name="Joan Viladomiu Tora" userId="769a1043-f370-4a5b-a0e1-4e76db633912" providerId="ADAL" clId="{B914494A-F278-4C75-B5BF-52D7B31E87BB}" dt="2022-12-22T14:07:34.639" v="11121" actId="478"/>
          <ac:spMkLst>
            <pc:docMk/>
            <pc:sldMk cId="347830822" sldId="263"/>
            <ac:spMk id="7" creationId="{52B8FE5F-3100-4D9A-A458-6CDD162F6B4B}"/>
          </ac:spMkLst>
        </pc:spChg>
        <pc:spChg chg="add del mod modVis">
          <ac:chgData name="Joan Viladomiu Tora" userId="769a1043-f370-4a5b-a0e1-4e76db633912" providerId="ADAL" clId="{B914494A-F278-4C75-B5BF-52D7B31E87BB}" dt="2022-12-17T14:39:52.226" v="4194"/>
          <ac:spMkLst>
            <pc:docMk/>
            <pc:sldMk cId="347830822" sldId="263"/>
            <ac:spMk id="7" creationId="{DB5A91B1-82FD-4B5B-89AE-AAFA995A30F5}"/>
          </ac:spMkLst>
        </pc:spChg>
        <pc:spChg chg="add del mod modVis">
          <ac:chgData name="Joan Viladomiu Tora" userId="769a1043-f370-4a5b-a0e1-4e76db633912" providerId="ADAL" clId="{B914494A-F278-4C75-B5BF-52D7B31E87BB}" dt="2022-12-17T14:40:45.619" v="4545"/>
          <ac:spMkLst>
            <pc:docMk/>
            <pc:sldMk cId="347830822" sldId="263"/>
            <ac:spMk id="8" creationId="{A4879215-0B14-4875-B781-06C7DB5092CD}"/>
          </ac:spMkLst>
        </pc:spChg>
        <pc:spChg chg="add del mod">
          <ac:chgData name="Joan Viladomiu Tora" userId="769a1043-f370-4a5b-a0e1-4e76db633912" providerId="ADAL" clId="{B914494A-F278-4C75-B5BF-52D7B31E87BB}" dt="2022-12-22T14:07:37.296" v="11122" actId="478"/>
          <ac:spMkLst>
            <pc:docMk/>
            <pc:sldMk cId="347830822" sldId="263"/>
            <ac:spMk id="8" creationId="{A4C55620-A993-4A80-B660-4FFDD68509FD}"/>
          </ac:spMkLst>
        </pc:spChg>
        <pc:spChg chg="add del mod modVis">
          <ac:chgData name="Joan Viladomiu Tora" userId="769a1043-f370-4a5b-a0e1-4e76db633912" providerId="ADAL" clId="{B914494A-F278-4C75-B5BF-52D7B31E87BB}" dt="2022-12-17T14:40:46.982" v="4588"/>
          <ac:spMkLst>
            <pc:docMk/>
            <pc:sldMk cId="347830822" sldId="263"/>
            <ac:spMk id="9" creationId="{25E7D71A-A2FF-4B62-9873-AFB6CFB7EE11}"/>
          </ac:spMkLst>
        </pc:spChg>
        <pc:spChg chg="add del mod">
          <ac:chgData name="Joan Viladomiu Tora" userId="769a1043-f370-4a5b-a0e1-4e76db633912" providerId="ADAL" clId="{B914494A-F278-4C75-B5BF-52D7B31E87BB}" dt="2022-12-22T12:18:50.513" v="9348" actId="21"/>
          <ac:spMkLst>
            <pc:docMk/>
            <pc:sldMk cId="347830822" sldId="263"/>
            <ac:spMk id="9" creationId="{7AA08335-AE2B-4761-943D-12F276C866F8}"/>
          </ac:spMkLst>
        </pc:spChg>
        <pc:spChg chg="add del mod modVis">
          <ac:chgData name="Joan Viladomiu Tora" userId="769a1043-f370-4a5b-a0e1-4e76db633912" providerId="ADAL" clId="{B914494A-F278-4C75-B5BF-52D7B31E87BB}" dt="2022-12-17T14:40:47.666" v="4631"/>
          <ac:spMkLst>
            <pc:docMk/>
            <pc:sldMk cId="347830822" sldId="263"/>
            <ac:spMk id="10" creationId="{49FCBDC0-D17F-4196-AC7B-FE78DB765AD5}"/>
          </ac:spMkLst>
        </pc:spChg>
        <pc:spChg chg="add del mod">
          <ac:chgData name="Joan Viladomiu Tora" userId="769a1043-f370-4a5b-a0e1-4e76db633912" providerId="ADAL" clId="{B914494A-F278-4C75-B5BF-52D7B31E87BB}" dt="2022-12-22T11:54:32.260" v="8775"/>
          <ac:spMkLst>
            <pc:docMk/>
            <pc:sldMk cId="347830822" sldId="263"/>
            <ac:spMk id="10" creationId="{65CD86DB-EC50-4943-82A3-4F86F2797FF3}"/>
          </ac:spMkLst>
        </pc:spChg>
        <pc:spChg chg="add del mod modVis">
          <ac:chgData name="Joan Viladomiu Tora" userId="769a1043-f370-4a5b-a0e1-4e76db633912" providerId="ADAL" clId="{B914494A-F278-4C75-B5BF-52D7B31E87BB}" dt="2022-12-21T22:34:59.998" v="7836"/>
          <ac:spMkLst>
            <pc:docMk/>
            <pc:sldMk cId="347830822" sldId="263"/>
            <ac:spMk id="10" creationId="{7C610B1F-3FB3-4E44-92FC-605E9900B879}"/>
          </ac:spMkLst>
        </pc:spChg>
        <pc:spChg chg="add del mod">
          <ac:chgData name="Joan Viladomiu Tora" userId="769a1043-f370-4a5b-a0e1-4e76db633912" providerId="ADAL" clId="{B914494A-F278-4C75-B5BF-52D7B31E87BB}" dt="2022-12-22T11:54:32.260" v="8775"/>
          <ac:spMkLst>
            <pc:docMk/>
            <pc:sldMk cId="347830822" sldId="263"/>
            <ac:spMk id="11" creationId="{493A107E-048E-4278-B768-50A934EF7EB3}"/>
          </ac:spMkLst>
        </pc:spChg>
        <pc:spChg chg="add del mod">
          <ac:chgData name="Joan Viladomiu Tora" userId="769a1043-f370-4a5b-a0e1-4e76db633912" providerId="ADAL" clId="{B914494A-F278-4C75-B5BF-52D7B31E87BB}" dt="2022-12-17T15:37:16.453" v="5401" actId="21"/>
          <ac:spMkLst>
            <pc:docMk/>
            <pc:sldMk cId="347830822" sldId="263"/>
            <ac:spMk id="11" creationId="{AC43CB14-63B0-45B8-9AC6-1407DF8BA766}"/>
          </ac:spMkLst>
        </pc:spChg>
        <pc:spChg chg="add del mod">
          <ac:chgData name="Joan Viladomiu Tora" userId="769a1043-f370-4a5b-a0e1-4e76db633912" providerId="ADAL" clId="{B914494A-F278-4C75-B5BF-52D7B31E87BB}" dt="2022-12-17T15:55:49.903" v="6486"/>
          <ac:spMkLst>
            <pc:docMk/>
            <pc:sldMk cId="347830822" sldId="263"/>
            <ac:spMk id="12" creationId="{79087CE8-27DA-43B6-8E4C-249CB59F6990}"/>
          </ac:spMkLst>
        </pc:spChg>
        <pc:spChg chg="add del mod">
          <ac:chgData name="Joan Viladomiu Tora" userId="769a1043-f370-4a5b-a0e1-4e76db633912" providerId="ADAL" clId="{B914494A-F278-4C75-B5BF-52D7B31E87BB}" dt="2022-12-22T11:54:32.260" v="8775"/>
          <ac:spMkLst>
            <pc:docMk/>
            <pc:sldMk cId="347830822" sldId="263"/>
            <ac:spMk id="12" creationId="{CA6EE126-D68C-4541-8027-04B0077D1196}"/>
          </ac:spMkLst>
        </pc:spChg>
        <pc:spChg chg="add del mod">
          <ac:chgData name="Joan Viladomiu Tora" userId="769a1043-f370-4a5b-a0e1-4e76db633912" providerId="ADAL" clId="{B914494A-F278-4C75-B5BF-52D7B31E87BB}" dt="2022-12-17T15:55:49.903" v="6486"/>
          <ac:spMkLst>
            <pc:docMk/>
            <pc:sldMk cId="347830822" sldId="263"/>
            <ac:spMk id="13" creationId="{649016CF-7030-4943-A01A-F2DF1F2EA62B}"/>
          </ac:spMkLst>
        </pc:spChg>
        <pc:spChg chg="add del mod">
          <ac:chgData name="Joan Viladomiu Tora" userId="769a1043-f370-4a5b-a0e1-4e76db633912" providerId="ADAL" clId="{B914494A-F278-4C75-B5BF-52D7B31E87BB}" dt="2022-12-17T16:57:38.485" v="7083"/>
          <ac:spMkLst>
            <pc:docMk/>
            <pc:sldMk cId="347830822" sldId="263"/>
            <ac:spMk id="14" creationId="{12E7A5C3-C615-4A4D-8EED-47F9F00B1A15}"/>
          </ac:spMkLst>
        </pc:spChg>
        <pc:spChg chg="add del mod">
          <ac:chgData name="Joan Viladomiu Tora" userId="769a1043-f370-4a5b-a0e1-4e76db633912" providerId="ADAL" clId="{B914494A-F278-4C75-B5BF-52D7B31E87BB}" dt="2022-12-22T11:54:32.260" v="8775"/>
          <ac:spMkLst>
            <pc:docMk/>
            <pc:sldMk cId="347830822" sldId="263"/>
            <ac:spMk id="14" creationId="{EFB5EFF9-4782-4868-9956-FAF34273D0BF}"/>
          </ac:spMkLst>
        </pc:spChg>
        <pc:spChg chg="add del mod">
          <ac:chgData name="Joan Viladomiu Tora" userId="769a1043-f370-4a5b-a0e1-4e76db633912" providerId="ADAL" clId="{B914494A-F278-4C75-B5BF-52D7B31E87BB}" dt="2022-12-22T11:54:32.260" v="8775"/>
          <ac:spMkLst>
            <pc:docMk/>
            <pc:sldMk cId="347830822" sldId="263"/>
            <ac:spMk id="15" creationId="{72C4B918-0CA4-408A-8E3F-9891415CC45B}"/>
          </ac:spMkLst>
        </pc:spChg>
        <pc:spChg chg="add del mod">
          <ac:chgData name="Joan Viladomiu Tora" userId="769a1043-f370-4a5b-a0e1-4e76db633912" providerId="ADAL" clId="{B914494A-F278-4C75-B5BF-52D7B31E87BB}" dt="2022-12-22T14:07:25.935" v="11120" actId="478"/>
          <ac:spMkLst>
            <pc:docMk/>
            <pc:sldMk cId="347830822" sldId="263"/>
            <ac:spMk id="16" creationId="{6EA6C8E5-AFBE-4AD8-A6B3-75892CD0DC20}"/>
          </ac:spMkLst>
        </pc:spChg>
        <pc:spChg chg="add del mod">
          <ac:chgData name="Joan Viladomiu Tora" userId="769a1043-f370-4a5b-a0e1-4e76db633912" providerId="ADAL" clId="{B914494A-F278-4C75-B5BF-52D7B31E87BB}" dt="2022-12-18T22:23:30.791" v="7255" actId="21"/>
          <ac:spMkLst>
            <pc:docMk/>
            <pc:sldMk cId="347830822" sldId="263"/>
            <ac:spMk id="17" creationId="{F3E1B36E-FBA1-460C-BA6A-1608C7D58321}"/>
          </ac:spMkLst>
        </pc:spChg>
        <pc:spChg chg="add del mod">
          <ac:chgData name="Joan Viladomiu Tora" userId="769a1043-f370-4a5b-a0e1-4e76db633912" providerId="ADAL" clId="{B914494A-F278-4C75-B5BF-52D7B31E87BB}" dt="2022-12-22T11:54:32.260" v="8775"/>
          <ac:spMkLst>
            <pc:docMk/>
            <pc:sldMk cId="347830822" sldId="263"/>
            <ac:spMk id="18" creationId="{7DAF3431-FD60-4DD9-B56B-2460BF8884B7}"/>
          </ac:spMkLst>
        </pc:spChg>
        <pc:spChg chg="add mod topLvl">
          <ac:chgData name="Joan Viladomiu Tora" userId="769a1043-f370-4a5b-a0e1-4e76db633912" providerId="ADAL" clId="{B914494A-F278-4C75-B5BF-52D7B31E87BB}" dt="2022-12-22T14:45:31.066" v="11702" actId="165"/>
          <ac:spMkLst>
            <pc:docMk/>
            <pc:sldMk cId="347830822" sldId="263"/>
            <ac:spMk id="20" creationId="{C92737D1-AA47-4CCE-AAA3-6B3835D7E8BB}"/>
          </ac:spMkLst>
        </pc:spChg>
        <pc:spChg chg="add mod topLvl">
          <ac:chgData name="Joan Viladomiu Tora" userId="769a1043-f370-4a5b-a0e1-4e76db633912" providerId="ADAL" clId="{B914494A-F278-4C75-B5BF-52D7B31E87BB}" dt="2022-12-22T14:12:14.855" v="11183" actId="12789"/>
          <ac:spMkLst>
            <pc:docMk/>
            <pc:sldMk cId="347830822" sldId="263"/>
            <ac:spMk id="21" creationId="{9F7926E7-3647-4430-B3EF-EFF7E73C4043}"/>
          </ac:spMkLst>
        </pc:spChg>
        <pc:spChg chg="add mod topLvl">
          <ac:chgData name="Joan Viladomiu Tora" userId="769a1043-f370-4a5b-a0e1-4e76db633912" providerId="ADAL" clId="{B914494A-F278-4C75-B5BF-52D7B31E87BB}" dt="2022-12-22T14:13:03.344" v="11239" actId="12788"/>
          <ac:spMkLst>
            <pc:docMk/>
            <pc:sldMk cId="347830822" sldId="263"/>
            <ac:spMk id="22" creationId="{56089033-2672-4BC3-8803-66A2EF046ACD}"/>
          </ac:spMkLst>
        </pc:spChg>
        <pc:spChg chg="add mod topLvl">
          <ac:chgData name="Joan Viladomiu Tora" userId="769a1043-f370-4a5b-a0e1-4e76db633912" providerId="ADAL" clId="{B914494A-F278-4C75-B5BF-52D7B31E87BB}" dt="2022-12-22T14:59:12.230" v="12819" actId="12789"/>
          <ac:spMkLst>
            <pc:docMk/>
            <pc:sldMk cId="347830822" sldId="263"/>
            <ac:spMk id="24" creationId="{8C4529B4-70A7-4BDF-B46E-0788402C65F6}"/>
          </ac:spMkLst>
        </pc:spChg>
        <pc:spChg chg="add mod topLvl">
          <ac:chgData name="Joan Viladomiu Tora" userId="769a1043-f370-4a5b-a0e1-4e76db633912" providerId="ADAL" clId="{B914494A-F278-4C75-B5BF-52D7B31E87BB}" dt="2022-12-22T14:44:10.791" v="11694" actId="165"/>
          <ac:spMkLst>
            <pc:docMk/>
            <pc:sldMk cId="347830822" sldId="263"/>
            <ac:spMk id="25" creationId="{20C15D83-F113-4231-81CB-5BB256B6BA1B}"/>
          </ac:spMkLst>
        </pc:spChg>
        <pc:spChg chg="add mod topLvl">
          <ac:chgData name="Joan Viladomiu Tora" userId="769a1043-f370-4a5b-a0e1-4e76db633912" providerId="ADAL" clId="{B914494A-F278-4C75-B5BF-52D7B31E87BB}" dt="2022-12-22T14:45:31.066" v="11702" actId="165"/>
          <ac:spMkLst>
            <pc:docMk/>
            <pc:sldMk cId="347830822" sldId="263"/>
            <ac:spMk id="27" creationId="{E85C2B49-EC89-4F48-9B1A-CF8AE65C8DD1}"/>
          </ac:spMkLst>
        </pc:spChg>
        <pc:spChg chg="add mod topLvl">
          <ac:chgData name="Joan Viladomiu Tora" userId="769a1043-f370-4a5b-a0e1-4e76db633912" providerId="ADAL" clId="{B914494A-F278-4C75-B5BF-52D7B31E87BB}" dt="2022-12-22T14:18:09.466" v="11385" actId="12789"/>
          <ac:spMkLst>
            <pc:docMk/>
            <pc:sldMk cId="347830822" sldId="263"/>
            <ac:spMk id="29" creationId="{10D8FD37-7656-4B9C-B270-39A196C8EC1A}"/>
          </ac:spMkLst>
        </pc:spChg>
        <pc:spChg chg="add mod topLvl">
          <ac:chgData name="Joan Viladomiu Tora" userId="769a1043-f370-4a5b-a0e1-4e76db633912" providerId="ADAL" clId="{B914494A-F278-4C75-B5BF-52D7B31E87BB}" dt="2022-12-22T14:43:21.239" v="11692" actId="165"/>
          <ac:spMkLst>
            <pc:docMk/>
            <pc:sldMk cId="347830822" sldId="263"/>
            <ac:spMk id="30" creationId="{CCC71C93-475A-4C1D-9820-B9247CB61AEB}"/>
          </ac:spMkLst>
        </pc:spChg>
        <pc:spChg chg="add mod">
          <ac:chgData name="Joan Viladomiu Tora" userId="769a1043-f370-4a5b-a0e1-4e76db633912" providerId="ADAL" clId="{B914494A-F278-4C75-B5BF-52D7B31E87BB}" dt="2022-12-22T12:15:02.719" v="9248" actId="571"/>
          <ac:spMkLst>
            <pc:docMk/>
            <pc:sldMk cId="347830822" sldId="263"/>
            <ac:spMk id="31" creationId="{6943D0E0-07AF-4D7D-BFDB-4A37598049BA}"/>
          </ac:spMkLst>
        </pc:spChg>
        <pc:spChg chg="add mod">
          <ac:chgData name="Joan Viladomiu Tora" userId="769a1043-f370-4a5b-a0e1-4e76db633912" providerId="ADAL" clId="{B914494A-F278-4C75-B5BF-52D7B31E87BB}" dt="2022-12-22T12:15:02.719" v="9248" actId="571"/>
          <ac:spMkLst>
            <pc:docMk/>
            <pc:sldMk cId="347830822" sldId="263"/>
            <ac:spMk id="32" creationId="{C8D24C16-F03A-43DE-A043-2AB28B66BA59}"/>
          </ac:spMkLst>
        </pc:spChg>
        <pc:spChg chg="add mod">
          <ac:chgData name="Joan Viladomiu Tora" userId="769a1043-f370-4a5b-a0e1-4e76db633912" providerId="ADAL" clId="{B914494A-F278-4C75-B5BF-52D7B31E87BB}" dt="2022-12-22T12:15:02.719" v="9248" actId="571"/>
          <ac:spMkLst>
            <pc:docMk/>
            <pc:sldMk cId="347830822" sldId="263"/>
            <ac:spMk id="33" creationId="{09BC2462-853C-4561-A80F-669930448914}"/>
          </ac:spMkLst>
        </pc:spChg>
        <pc:spChg chg="add mod">
          <ac:chgData name="Joan Viladomiu Tora" userId="769a1043-f370-4a5b-a0e1-4e76db633912" providerId="ADAL" clId="{B914494A-F278-4C75-B5BF-52D7B31E87BB}" dt="2022-12-22T12:15:02.719" v="9248" actId="571"/>
          <ac:spMkLst>
            <pc:docMk/>
            <pc:sldMk cId="347830822" sldId="263"/>
            <ac:spMk id="34" creationId="{456550E2-1BB5-46D9-ABC9-8CB89D9BAD91}"/>
          </ac:spMkLst>
        </pc:spChg>
        <pc:spChg chg="add mod topLvl">
          <ac:chgData name="Joan Viladomiu Tora" userId="769a1043-f370-4a5b-a0e1-4e76db633912" providerId="ADAL" clId="{B914494A-F278-4C75-B5BF-52D7B31E87BB}" dt="2022-12-22T14:46:07.279" v="11710" actId="164"/>
          <ac:spMkLst>
            <pc:docMk/>
            <pc:sldMk cId="347830822" sldId="263"/>
            <ac:spMk id="35" creationId="{923E0D1B-CDE3-44BB-BC62-F43E02909982}"/>
          </ac:spMkLst>
        </pc:spChg>
        <pc:spChg chg="add mod topLvl">
          <ac:chgData name="Joan Viladomiu Tora" userId="769a1043-f370-4a5b-a0e1-4e76db633912" providerId="ADAL" clId="{B914494A-F278-4C75-B5BF-52D7B31E87BB}" dt="2022-12-22T14:43:21.239" v="11692" actId="165"/>
          <ac:spMkLst>
            <pc:docMk/>
            <pc:sldMk cId="347830822" sldId="263"/>
            <ac:spMk id="37" creationId="{184FA877-95F5-4C48-89F8-092E88B941B8}"/>
          </ac:spMkLst>
        </pc:spChg>
        <pc:spChg chg="add mod">
          <ac:chgData name="Joan Viladomiu Tora" userId="769a1043-f370-4a5b-a0e1-4e76db633912" providerId="ADAL" clId="{B914494A-F278-4C75-B5BF-52D7B31E87BB}" dt="2022-12-22T12:17:57.050" v="9298" actId="571"/>
          <ac:spMkLst>
            <pc:docMk/>
            <pc:sldMk cId="347830822" sldId="263"/>
            <ac:spMk id="45" creationId="{3CEAE55A-6096-4AB0-A9DA-84E76D5E0946}"/>
          </ac:spMkLst>
        </pc:spChg>
        <pc:spChg chg="add mod">
          <ac:chgData name="Joan Viladomiu Tora" userId="769a1043-f370-4a5b-a0e1-4e76db633912" providerId="ADAL" clId="{B914494A-F278-4C75-B5BF-52D7B31E87BB}" dt="2022-12-22T12:17:57.050" v="9298" actId="571"/>
          <ac:spMkLst>
            <pc:docMk/>
            <pc:sldMk cId="347830822" sldId="263"/>
            <ac:spMk id="46" creationId="{12BBA1B7-012D-4F7E-B554-5B2AF1016B32}"/>
          </ac:spMkLst>
        </pc:spChg>
        <pc:spChg chg="add mod">
          <ac:chgData name="Joan Viladomiu Tora" userId="769a1043-f370-4a5b-a0e1-4e76db633912" providerId="ADAL" clId="{B914494A-F278-4C75-B5BF-52D7B31E87BB}" dt="2022-12-22T12:17:57.050" v="9298" actId="571"/>
          <ac:spMkLst>
            <pc:docMk/>
            <pc:sldMk cId="347830822" sldId="263"/>
            <ac:spMk id="47" creationId="{7285EF0E-A34D-440A-98A9-4793AB6C8563}"/>
          </ac:spMkLst>
        </pc:spChg>
        <pc:spChg chg="add mod topLvl">
          <ac:chgData name="Joan Viladomiu Tora" userId="769a1043-f370-4a5b-a0e1-4e76db633912" providerId="ADAL" clId="{B914494A-F278-4C75-B5BF-52D7B31E87BB}" dt="2022-12-22T14:45:31.066" v="11702" actId="165"/>
          <ac:spMkLst>
            <pc:docMk/>
            <pc:sldMk cId="347830822" sldId="263"/>
            <ac:spMk id="48" creationId="{D9B7A933-9CD7-47CE-831E-F6156A4BA601}"/>
          </ac:spMkLst>
        </pc:spChg>
        <pc:spChg chg="add mod">
          <ac:chgData name="Joan Viladomiu Tora" userId="769a1043-f370-4a5b-a0e1-4e76db633912" providerId="ADAL" clId="{B914494A-F278-4C75-B5BF-52D7B31E87BB}" dt="2022-12-22T14:45:05.529" v="11701" actId="20577"/>
          <ac:spMkLst>
            <pc:docMk/>
            <pc:sldMk cId="347830822" sldId="263"/>
            <ac:spMk id="49" creationId="{8A9CC394-7805-41C5-AE66-DD8B148A2913}"/>
          </ac:spMkLst>
        </pc:spChg>
        <pc:spChg chg="add mod topLvl">
          <ac:chgData name="Joan Viladomiu Tora" userId="769a1043-f370-4a5b-a0e1-4e76db633912" providerId="ADAL" clId="{B914494A-F278-4C75-B5BF-52D7B31E87BB}" dt="2022-12-22T14:59:12.230" v="12819" actId="12789"/>
          <ac:spMkLst>
            <pc:docMk/>
            <pc:sldMk cId="347830822" sldId="263"/>
            <ac:spMk id="50" creationId="{8C0BA89F-05AE-4F7C-BDE3-9BC54EBBF477}"/>
          </ac:spMkLst>
        </pc:spChg>
        <pc:spChg chg="add mod">
          <ac:chgData name="Joan Viladomiu Tora" userId="769a1043-f370-4a5b-a0e1-4e76db633912" providerId="ADAL" clId="{B914494A-F278-4C75-B5BF-52D7B31E87BB}" dt="2022-12-22T14:19:05.034" v="11437" actId="207"/>
          <ac:spMkLst>
            <pc:docMk/>
            <pc:sldMk cId="347830822" sldId="263"/>
            <ac:spMk id="51" creationId="{8D17E69B-AAE0-4AB4-B26C-CA882421F978}"/>
          </ac:spMkLst>
        </pc:spChg>
        <pc:spChg chg="add del mod">
          <ac:chgData name="Joan Viladomiu Tora" userId="769a1043-f370-4a5b-a0e1-4e76db633912" providerId="ADAL" clId="{B914494A-F278-4C75-B5BF-52D7B31E87BB}" dt="2022-12-22T13:53:38.501" v="10757" actId="478"/>
          <ac:spMkLst>
            <pc:docMk/>
            <pc:sldMk cId="347830822" sldId="263"/>
            <ac:spMk id="52" creationId="{DB3FFF70-4CB4-40B4-AE6F-A250A9CA5CE9}"/>
          </ac:spMkLst>
        </pc:spChg>
        <pc:spChg chg="add mod topLvl">
          <ac:chgData name="Joan Viladomiu Tora" userId="769a1043-f370-4a5b-a0e1-4e76db633912" providerId="ADAL" clId="{B914494A-F278-4C75-B5BF-52D7B31E87BB}" dt="2022-12-22T14:43:21.239" v="11692" actId="165"/>
          <ac:spMkLst>
            <pc:docMk/>
            <pc:sldMk cId="347830822" sldId="263"/>
            <ac:spMk id="53" creationId="{3B2FCB14-5E21-4C26-A094-CF59E9CC2AB4}"/>
          </ac:spMkLst>
        </pc:spChg>
        <pc:spChg chg="add del mod modVis">
          <ac:chgData name="Joan Viladomiu Tora" userId="769a1043-f370-4a5b-a0e1-4e76db633912" providerId="ADAL" clId="{B914494A-F278-4C75-B5BF-52D7B31E87BB}" dt="2022-12-22T15:43:43.106" v="13974"/>
          <ac:spMkLst>
            <pc:docMk/>
            <pc:sldMk cId="347830822" sldId="263"/>
            <ac:spMk id="58" creationId="{24BF4364-8E34-4341-9802-7B6AB1BAF8BE}"/>
          </ac:spMkLst>
        </pc:spChg>
        <pc:spChg chg="add del mod modVis">
          <ac:chgData name="Joan Viladomiu Tora" userId="769a1043-f370-4a5b-a0e1-4e76db633912" providerId="ADAL" clId="{B914494A-F278-4C75-B5BF-52D7B31E87BB}" dt="2022-12-22T15:43:43.878" v="14017"/>
          <ac:spMkLst>
            <pc:docMk/>
            <pc:sldMk cId="347830822" sldId="263"/>
            <ac:spMk id="59" creationId="{82AD4480-6ECB-424B-874B-BC083C184339}"/>
          </ac:spMkLst>
        </pc:spChg>
        <pc:grpChg chg="mod">
          <ac:chgData name="Joan Viladomiu Tora" userId="769a1043-f370-4a5b-a0e1-4e76db633912" providerId="ADAL" clId="{B914494A-F278-4C75-B5BF-52D7B31E87BB}" dt="2022-12-17T14:39:36.673" v="3995"/>
          <ac:grpSpMkLst>
            <pc:docMk/>
            <pc:sldMk cId="347830822" sldId="263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914494A-F278-4C75-B5BF-52D7B31E87BB}" dt="2022-12-22T12:15:52.171" v="9272" actId="165"/>
          <ac:grpSpMkLst>
            <pc:docMk/>
            <pc:sldMk cId="347830822" sldId="263"/>
            <ac:grpSpMk id="2" creationId="{75C42E97-CC01-4E7D-80C2-D9D3A18DF786}"/>
          </ac:grpSpMkLst>
        </pc:grpChg>
        <pc:grpChg chg="add del mod">
          <ac:chgData name="Joan Viladomiu Tora" userId="769a1043-f370-4a5b-a0e1-4e76db633912" providerId="ADAL" clId="{B914494A-F278-4C75-B5BF-52D7B31E87BB}" dt="2022-12-22T12:16:24.655" v="9283" actId="165"/>
          <ac:grpSpMkLst>
            <pc:docMk/>
            <pc:sldMk cId="347830822" sldId="263"/>
            <ac:grpSpMk id="39" creationId="{6AAA375C-3947-4134-9C25-595B5BE02E52}"/>
          </ac:grpSpMkLst>
        </pc:grpChg>
        <pc:grpChg chg="add del mod">
          <ac:chgData name="Joan Viladomiu Tora" userId="769a1043-f370-4a5b-a0e1-4e76db633912" providerId="ADAL" clId="{B914494A-F278-4C75-B5BF-52D7B31E87BB}" dt="2022-12-22T12:16:24.655" v="9283" actId="165"/>
          <ac:grpSpMkLst>
            <pc:docMk/>
            <pc:sldMk cId="347830822" sldId="263"/>
            <ac:grpSpMk id="40" creationId="{0E19BBF5-E453-4107-AE06-FEE94632EFF1}"/>
          </ac:grpSpMkLst>
        </pc:grpChg>
        <pc:grpChg chg="add del mod">
          <ac:chgData name="Joan Viladomiu Tora" userId="769a1043-f370-4a5b-a0e1-4e76db633912" providerId="ADAL" clId="{B914494A-F278-4C75-B5BF-52D7B31E87BB}" dt="2022-12-22T12:16:24.655" v="9283" actId="165"/>
          <ac:grpSpMkLst>
            <pc:docMk/>
            <pc:sldMk cId="347830822" sldId="263"/>
            <ac:grpSpMk id="41" creationId="{A00CA119-4710-4633-8F83-9311AF18F8EF}"/>
          </ac:grpSpMkLst>
        </pc:grpChg>
        <pc:grpChg chg="add del mod">
          <ac:chgData name="Joan Viladomiu Tora" userId="769a1043-f370-4a5b-a0e1-4e76db633912" providerId="ADAL" clId="{B914494A-F278-4C75-B5BF-52D7B31E87BB}" dt="2022-12-22T12:16:24.655" v="9283" actId="165"/>
          <ac:grpSpMkLst>
            <pc:docMk/>
            <pc:sldMk cId="347830822" sldId="263"/>
            <ac:grpSpMk id="42" creationId="{99859E16-C7A0-4A18-B198-013FA924CF49}"/>
          </ac:grpSpMkLst>
        </pc:grpChg>
        <pc:grpChg chg="add del mod">
          <ac:chgData name="Joan Viladomiu Tora" userId="769a1043-f370-4a5b-a0e1-4e76db633912" providerId="ADAL" clId="{B914494A-F278-4C75-B5BF-52D7B31E87BB}" dt="2022-12-22T12:16:24.655" v="9283" actId="165"/>
          <ac:grpSpMkLst>
            <pc:docMk/>
            <pc:sldMk cId="347830822" sldId="263"/>
            <ac:grpSpMk id="43" creationId="{6CE28233-2D31-4B94-85C9-FF43DA6447E4}"/>
          </ac:grpSpMkLst>
        </pc:grpChg>
        <pc:grpChg chg="add del mod">
          <ac:chgData name="Joan Viladomiu Tora" userId="769a1043-f370-4a5b-a0e1-4e76db633912" providerId="ADAL" clId="{B914494A-F278-4C75-B5BF-52D7B31E87BB}" dt="2022-12-22T14:44:10.791" v="11694" actId="165"/>
          <ac:grpSpMkLst>
            <pc:docMk/>
            <pc:sldMk cId="347830822" sldId="263"/>
            <ac:grpSpMk id="54" creationId="{F9DE897C-51E3-4273-8997-4AEEC77A0BDE}"/>
          </ac:grpSpMkLst>
        </pc:grpChg>
        <pc:grpChg chg="add del mod">
          <ac:chgData name="Joan Viladomiu Tora" userId="769a1043-f370-4a5b-a0e1-4e76db633912" providerId="ADAL" clId="{B914494A-F278-4C75-B5BF-52D7B31E87BB}" dt="2022-12-22T14:45:31.066" v="11702" actId="165"/>
          <ac:grpSpMkLst>
            <pc:docMk/>
            <pc:sldMk cId="347830822" sldId="263"/>
            <ac:grpSpMk id="55" creationId="{92D1342E-2A8A-4559-833C-110CD70E77B8}"/>
          </ac:grpSpMkLst>
        </pc:grpChg>
        <pc:grpChg chg="add del mod">
          <ac:chgData name="Joan Viladomiu Tora" userId="769a1043-f370-4a5b-a0e1-4e76db633912" providerId="ADAL" clId="{B914494A-F278-4C75-B5BF-52D7B31E87BB}" dt="2022-12-22T14:43:21.239" v="11692" actId="165"/>
          <ac:grpSpMkLst>
            <pc:docMk/>
            <pc:sldMk cId="347830822" sldId="263"/>
            <ac:grpSpMk id="56" creationId="{8B8E357D-8C38-485F-8E8C-6A7FBCA63DFF}"/>
          </ac:grpSpMkLst>
        </pc:grpChg>
        <pc:grpChg chg="add mod">
          <ac:chgData name="Joan Viladomiu Tora" userId="769a1043-f370-4a5b-a0e1-4e76db633912" providerId="ADAL" clId="{B914494A-F278-4C75-B5BF-52D7B31E87BB}" dt="2022-12-22T14:46:07.279" v="11710" actId="164"/>
          <ac:grpSpMkLst>
            <pc:docMk/>
            <pc:sldMk cId="347830822" sldId="263"/>
            <ac:grpSpMk id="57" creationId="{ECAE7E20-B769-4676-BBE1-11A5E4044095}"/>
          </ac:grpSpMkLst>
        </pc:grpChg>
        <pc:graphicFrameChg chg="mod">
          <ac:chgData name="Joan Viladomiu Tora" userId="769a1043-f370-4a5b-a0e1-4e76db633912" providerId="ADAL" clId="{B914494A-F278-4C75-B5BF-52D7B31E87BB}" dt="2022-12-22T15:43:43.882" v="14019"/>
          <ac:graphicFrameMkLst>
            <pc:docMk/>
            <pc:sldMk cId="347830822" sldId="263"/>
            <ac:graphicFrameMk id="4" creationId="{637DE2E9-A32B-4253-BD3A-484BBC42BC88}"/>
          </ac:graphicFrameMkLst>
        </pc:graphicFrameChg>
        <pc:picChg chg="add del mod">
          <ac:chgData name="Joan Viladomiu Tora" userId="769a1043-f370-4a5b-a0e1-4e76db633912" providerId="ADAL" clId="{B914494A-F278-4C75-B5BF-52D7B31E87BB}" dt="2022-12-22T11:54:32.260" v="8775"/>
          <ac:picMkLst>
            <pc:docMk/>
            <pc:sldMk cId="347830822" sldId="263"/>
            <ac:picMk id="13" creationId="{720A7CBA-EB5C-4484-83DD-425ECF549575}"/>
          </ac:picMkLst>
        </pc:picChg>
        <pc:picChg chg="add del mod">
          <ac:chgData name="Joan Viladomiu Tora" userId="769a1043-f370-4a5b-a0e1-4e76db633912" providerId="ADAL" clId="{B914494A-F278-4C75-B5BF-52D7B31E87BB}" dt="2022-12-22T11:54:32.260" v="8775"/>
          <ac:picMkLst>
            <pc:docMk/>
            <pc:sldMk cId="347830822" sldId="263"/>
            <ac:picMk id="17" creationId="{C5024CFA-87E6-4E7E-870D-4685C3FF904A}"/>
          </ac:picMkLst>
        </pc:picChg>
        <pc:picChg chg="add del mod">
          <ac:chgData name="Joan Viladomiu Tora" userId="769a1043-f370-4a5b-a0e1-4e76db633912" providerId="ADAL" clId="{B914494A-F278-4C75-B5BF-52D7B31E87BB}" dt="2022-12-22T11:54:32.260" v="8775"/>
          <ac:picMkLst>
            <pc:docMk/>
            <pc:sldMk cId="347830822" sldId="263"/>
            <ac:picMk id="19" creationId="{67CBCCD6-62CF-4FF2-A99D-665560DC1AE0}"/>
          </ac:picMkLst>
        </pc:picChg>
        <pc:picChg chg="add mod topLvl">
          <ac:chgData name="Joan Viladomiu Tora" userId="769a1043-f370-4a5b-a0e1-4e76db633912" providerId="ADAL" clId="{B914494A-F278-4C75-B5BF-52D7B31E87BB}" dt="2022-12-22T14:13:03.344" v="11239" actId="12788"/>
          <ac:picMkLst>
            <pc:docMk/>
            <pc:sldMk cId="347830822" sldId="263"/>
            <ac:picMk id="23" creationId="{2A6F5626-363E-44E8-9D5F-8B35AE555C7D}"/>
          </ac:picMkLst>
        </pc:picChg>
        <pc:picChg chg="add mod topLvl">
          <ac:chgData name="Joan Viladomiu Tora" userId="769a1043-f370-4a5b-a0e1-4e76db633912" providerId="ADAL" clId="{B914494A-F278-4C75-B5BF-52D7B31E87BB}" dt="2022-12-22T14:44:10.791" v="11694" actId="165"/>
          <ac:picMkLst>
            <pc:docMk/>
            <pc:sldMk cId="347830822" sldId="263"/>
            <ac:picMk id="26" creationId="{204C1285-E05B-4EEF-9B3F-B311EF0B9FC1}"/>
          </ac:picMkLst>
        </pc:picChg>
        <pc:picChg chg="add mod topLvl">
          <ac:chgData name="Joan Viladomiu Tora" userId="769a1043-f370-4a5b-a0e1-4e76db633912" providerId="ADAL" clId="{B914494A-F278-4C75-B5BF-52D7B31E87BB}" dt="2022-12-22T14:45:31.066" v="11702" actId="165"/>
          <ac:picMkLst>
            <pc:docMk/>
            <pc:sldMk cId="347830822" sldId="263"/>
            <ac:picMk id="28" creationId="{C9C6ED9D-87AC-45B3-BFBB-8D7FD20ADAFB}"/>
          </ac:picMkLst>
        </pc:picChg>
        <pc:picChg chg="add mod topLvl">
          <ac:chgData name="Joan Viladomiu Tora" userId="769a1043-f370-4a5b-a0e1-4e76db633912" providerId="ADAL" clId="{B914494A-F278-4C75-B5BF-52D7B31E87BB}" dt="2022-12-22T14:46:07.279" v="11710" actId="164"/>
          <ac:picMkLst>
            <pc:docMk/>
            <pc:sldMk cId="347830822" sldId="263"/>
            <ac:picMk id="36" creationId="{09FBDB44-55B5-46E2-A65C-6D8F50074E2A}"/>
          </ac:picMkLst>
        </pc:picChg>
        <pc:picChg chg="add mod topLvl">
          <ac:chgData name="Joan Viladomiu Tora" userId="769a1043-f370-4a5b-a0e1-4e76db633912" providerId="ADAL" clId="{B914494A-F278-4C75-B5BF-52D7B31E87BB}" dt="2022-12-22T14:44:03.038" v="11693" actId="14826"/>
          <ac:picMkLst>
            <pc:docMk/>
            <pc:sldMk cId="347830822" sldId="263"/>
            <ac:picMk id="38" creationId="{E91D1928-9580-4A87-A473-C4CDE0710AFF}"/>
          </ac:picMkLst>
        </pc:picChg>
        <pc:picChg chg="add del mod">
          <ac:chgData name="Joan Viladomiu Tora" userId="769a1043-f370-4a5b-a0e1-4e76db633912" providerId="ADAL" clId="{B914494A-F278-4C75-B5BF-52D7B31E87BB}" dt="2022-12-22T12:18:18.542" v="9343" actId="478"/>
          <ac:picMkLst>
            <pc:docMk/>
            <pc:sldMk cId="347830822" sldId="263"/>
            <ac:picMk id="44" creationId="{2B289CD6-5FE2-4336-961B-6310E6D2A26E}"/>
          </ac:picMkLst>
        </pc:picChg>
      </pc:sldChg>
      <pc:sldChg chg="addSp delSp modSp add del mod modClrScheme chgLayout">
        <pc:chgData name="Joan Viladomiu Tora" userId="769a1043-f370-4a5b-a0e1-4e76db633912" providerId="ADAL" clId="{B914494A-F278-4C75-B5BF-52D7B31E87BB}" dt="2022-12-17T15:09:33.623" v="5252" actId="47"/>
        <pc:sldMkLst>
          <pc:docMk/>
          <pc:sldMk cId="232990934" sldId="264"/>
        </pc:sldMkLst>
        <pc:spChg chg="del mod ord">
          <ac:chgData name="Joan Viladomiu Tora" userId="769a1043-f370-4a5b-a0e1-4e76db633912" providerId="ADAL" clId="{B914494A-F278-4C75-B5BF-52D7B31E87BB}" dt="2022-12-17T14:57:12.277" v="4971" actId="478"/>
          <ac:spMkLst>
            <pc:docMk/>
            <pc:sldMk cId="232990934" sldId="264"/>
            <ac:spMk id="3" creationId="{EAFFC853-3152-416C-8C98-D3A291F725F1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9" creationId="{C0709DF2-8F3A-49A7-9F9D-95DB2D04370B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0" creationId="{893FE0AA-997C-4BDB-8457-29D089790FF3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1" creationId="{A271A8A5-7F3F-4EC1-9DBB-A5AE7F153E05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2" creationId="{7D81144C-DC2A-495B-B768-F5BC57123641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3" creationId="{E092BFAB-DA8B-41A0-ADCD-AA4EAED0F109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4" creationId="{B92D3672-CA02-43C1-A86D-DAB7D5F25DC8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5" creationId="{339ACC22-2459-43AB-9B13-305DC3A8A06E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6" creationId="{C0E9DB69-8048-4F51-8037-EF8101128D94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7" creationId="{65C7568B-6E31-452E-A391-E2ADFB5B19DF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8" creationId="{AC33E028-4395-40D7-8136-8195341F079E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19" creationId="{26A91949-E1F2-4A73-AC06-2B52B0744C5A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0" creationId="{3A92A1DD-EB17-470B-95E7-5DE28BCDDB75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1" creationId="{D4FF6B1B-856F-4867-A469-27ABD249C7BD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2" creationId="{7A77E8E6-7F56-4954-9D6E-ADF5E9CFD943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3" creationId="{6A807E7E-2D91-416E-BF7C-64C24ED18913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4" creationId="{7CB8EACE-D332-48A0-8B0F-99D1CFD0965C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5" creationId="{CE5A00FE-4190-49AC-8778-881FC2B4E742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6" creationId="{C10CB98D-6BA4-4B1A-9AAA-AB1830ACF832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7" creationId="{40500DFF-FE7D-49AA-BB40-C8E418C5067D}"/>
          </ac:spMkLst>
        </pc:spChg>
        <pc:spChg chg="del mod">
          <ac:chgData name="Joan Viladomiu Tora" userId="769a1043-f370-4a5b-a0e1-4e76db633912" providerId="ADAL" clId="{B914494A-F278-4C75-B5BF-52D7B31E87BB}" dt="2022-12-17T14:54:36.414" v="4944" actId="478"/>
          <ac:spMkLst>
            <pc:docMk/>
            <pc:sldMk cId="232990934" sldId="264"/>
            <ac:spMk id="28" creationId="{FC74F891-DDEE-4F22-978A-B301E4ED0FB7}"/>
          </ac:spMkLst>
        </pc:spChg>
        <pc:spChg chg="add mod ord">
          <ac:chgData name="Joan Viladomiu Tora" userId="769a1043-f370-4a5b-a0e1-4e76db633912" providerId="ADAL" clId="{B914494A-F278-4C75-B5BF-52D7B31E87BB}" dt="2022-12-17T15:02:11.429" v="5079"/>
          <ac:spMkLst>
            <pc:docMk/>
            <pc:sldMk cId="232990934" sldId="264"/>
            <ac:spMk id="29" creationId="{A8DA4D30-59E7-4858-A27B-5D6A4054294A}"/>
          </ac:spMkLst>
        </pc:spChg>
        <pc:spChg chg="add mod ord">
          <ac:chgData name="Joan Viladomiu Tora" userId="769a1043-f370-4a5b-a0e1-4e76db633912" providerId="ADAL" clId="{B914494A-F278-4C75-B5BF-52D7B31E87BB}" dt="2022-12-17T15:02:11.430" v="5081"/>
          <ac:spMkLst>
            <pc:docMk/>
            <pc:sldMk cId="232990934" sldId="264"/>
            <ac:spMk id="30" creationId="{76841FE2-6178-4476-A6ED-ED433F5F9DDB}"/>
          </ac:spMkLst>
        </pc:spChg>
        <pc:spChg chg="add mod ord">
          <ac:chgData name="Joan Viladomiu Tora" userId="769a1043-f370-4a5b-a0e1-4e76db633912" providerId="ADAL" clId="{B914494A-F278-4C75-B5BF-52D7B31E87BB}" dt="2022-12-17T15:02:11.431" v="5083"/>
          <ac:spMkLst>
            <pc:docMk/>
            <pc:sldMk cId="232990934" sldId="264"/>
            <ac:spMk id="31" creationId="{E5A0FBA9-0691-4DE2-9312-FF7873E38D19}"/>
          </ac:spMkLst>
        </pc:spChg>
        <pc:spChg chg="add mod ord">
          <ac:chgData name="Joan Viladomiu Tora" userId="769a1043-f370-4a5b-a0e1-4e76db633912" providerId="ADAL" clId="{B914494A-F278-4C75-B5BF-52D7B31E87BB}" dt="2022-12-17T15:02:11.432" v="5085"/>
          <ac:spMkLst>
            <pc:docMk/>
            <pc:sldMk cId="232990934" sldId="264"/>
            <ac:spMk id="32" creationId="{B74DC2C5-90EF-4F46-8D5F-AE8AFC3329DE}"/>
          </ac:spMkLst>
        </pc:spChg>
        <pc:spChg chg="add mod ord">
          <ac:chgData name="Joan Viladomiu Tora" userId="769a1043-f370-4a5b-a0e1-4e76db633912" providerId="ADAL" clId="{B914494A-F278-4C75-B5BF-52D7B31E87BB}" dt="2022-12-17T15:02:11.433" v="5087"/>
          <ac:spMkLst>
            <pc:docMk/>
            <pc:sldMk cId="232990934" sldId="264"/>
            <ac:spMk id="34" creationId="{31DC5472-0C3B-42E6-9213-EFC28D913EBB}"/>
          </ac:spMkLst>
        </pc:spChg>
        <pc:spChg chg="add del mod ord">
          <ac:chgData name="Joan Viladomiu Tora" userId="769a1043-f370-4a5b-a0e1-4e76db633912" providerId="ADAL" clId="{B914494A-F278-4C75-B5BF-52D7B31E87BB}" dt="2022-12-17T15:03:26.099" v="5128" actId="478"/>
          <ac:spMkLst>
            <pc:docMk/>
            <pc:sldMk cId="232990934" sldId="264"/>
            <ac:spMk id="38" creationId="{5387B634-3B8C-4653-81FE-045D5504E6FF}"/>
          </ac:spMkLst>
        </pc:spChg>
        <pc:spChg chg="add del mod ord">
          <ac:chgData name="Joan Viladomiu Tora" userId="769a1043-f370-4a5b-a0e1-4e76db633912" providerId="ADAL" clId="{B914494A-F278-4C75-B5BF-52D7B31E87BB}" dt="2022-12-17T15:03:26.099" v="5128" actId="478"/>
          <ac:spMkLst>
            <pc:docMk/>
            <pc:sldMk cId="232990934" sldId="264"/>
            <ac:spMk id="39" creationId="{1AE28669-B04C-429F-8C4D-24F161D77B17}"/>
          </ac:spMkLst>
        </pc:spChg>
        <pc:spChg chg="add del mod ord">
          <ac:chgData name="Joan Viladomiu Tora" userId="769a1043-f370-4a5b-a0e1-4e76db633912" providerId="ADAL" clId="{B914494A-F278-4C75-B5BF-52D7B31E87BB}" dt="2022-12-17T15:04:07.119" v="5173" actId="478"/>
          <ac:spMkLst>
            <pc:docMk/>
            <pc:sldMk cId="232990934" sldId="264"/>
            <ac:spMk id="40" creationId="{304030CE-C516-494C-BB8F-4F3A70E6D38F}"/>
          </ac:spMkLst>
        </pc:spChg>
        <pc:spChg chg="add del mod ord">
          <ac:chgData name="Joan Viladomiu Tora" userId="769a1043-f370-4a5b-a0e1-4e76db633912" providerId="ADAL" clId="{B914494A-F278-4C75-B5BF-52D7B31E87BB}" dt="2022-12-17T15:04:07.119" v="5173" actId="478"/>
          <ac:spMkLst>
            <pc:docMk/>
            <pc:sldMk cId="232990934" sldId="264"/>
            <ac:spMk id="41" creationId="{FDFFAE47-9722-4928-8A61-DDA7830D613E}"/>
          </ac:spMkLst>
        </pc:spChg>
        <pc:spChg chg="add del mod ord">
          <ac:chgData name="Joan Viladomiu Tora" userId="769a1043-f370-4a5b-a0e1-4e76db633912" providerId="ADAL" clId="{B914494A-F278-4C75-B5BF-52D7B31E87BB}" dt="2022-12-17T15:04:07.119" v="5173" actId="478"/>
          <ac:spMkLst>
            <pc:docMk/>
            <pc:sldMk cId="232990934" sldId="264"/>
            <ac:spMk id="42" creationId="{D3BE1C05-13B6-42AC-932A-992ED3793426}"/>
          </ac:spMkLst>
        </pc:spChg>
        <pc:spChg chg="add mod ord">
          <ac:chgData name="Joan Viladomiu Tora" userId="769a1043-f370-4a5b-a0e1-4e76db633912" providerId="ADAL" clId="{B914494A-F278-4C75-B5BF-52D7B31E87BB}" dt="2022-12-17T15:04:15.347" v="5174" actId="1076"/>
          <ac:spMkLst>
            <pc:docMk/>
            <pc:sldMk cId="232990934" sldId="264"/>
            <ac:spMk id="43" creationId="{FA5358D2-A790-4292-A564-6BF88661DF39}"/>
          </ac:spMkLst>
        </pc:spChg>
        <pc:spChg chg="add mod">
          <ac:chgData name="Joan Viladomiu Tora" userId="769a1043-f370-4a5b-a0e1-4e76db633912" providerId="ADAL" clId="{B914494A-F278-4C75-B5BF-52D7B31E87BB}" dt="2022-12-17T15:04:21.452" v="5175" actId="207"/>
          <ac:spMkLst>
            <pc:docMk/>
            <pc:sldMk cId="232990934" sldId="264"/>
            <ac:spMk id="44" creationId="{10776108-2920-47F0-9715-371765A728DB}"/>
          </ac:spMkLst>
        </pc:spChg>
        <pc:spChg chg="add mod">
          <ac:chgData name="Joan Viladomiu Tora" userId="769a1043-f370-4a5b-a0e1-4e76db633912" providerId="ADAL" clId="{B914494A-F278-4C75-B5BF-52D7B31E87BB}" dt="2022-12-17T15:04:21.452" v="5175" actId="207"/>
          <ac:spMkLst>
            <pc:docMk/>
            <pc:sldMk cId="232990934" sldId="264"/>
            <ac:spMk id="45" creationId="{FFED88BB-A7CF-49B8-A8BF-8729877508CE}"/>
          </ac:spMkLst>
        </pc:spChg>
        <pc:spChg chg="add mod">
          <ac:chgData name="Joan Viladomiu Tora" userId="769a1043-f370-4a5b-a0e1-4e76db633912" providerId="ADAL" clId="{B914494A-F278-4C75-B5BF-52D7B31E87BB}" dt="2022-12-17T15:04:21.452" v="5175" actId="207"/>
          <ac:spMkLst>
            <pc:docMk/>
            <pc:sldMk cId="232990934" sldId="264"/>
            <ac:spMk id="46" creationId="{ACE5EAC7-93B4-4395-AB27-4A367CF4AB10}"/>
          </ac:spMkLst>
        </pc:spChg>
        <pc:spChg chg="add mod">
          <ac:chgData name="Joan Viladomiu Tora" userId="769a1043-f370-4a5b-a0e1-4e76db633912" providerId="ADAL" clId="{B914494A-F278-4C75-B5BF-52D7B31E87BB}" dt="2022-12-17T15:04:15.347" v="5174" actId="1076"/>
          <ac:spMkLst>
            <pc:docMk/>
            <pc:sldMk cId="232990934" sldId="264"/>
            <ac:spMk id="47" creationId="{7C63083A-A9DE-4A1C-9842-679F43C2EC9A}"/>
          </ac:spMkLst>
        </pc:spChg>
        <pc:grpChg chg="mod">
          <ac:chgData name="Joan Viladomiu Tora" userId="769a1043-f370-4a5b-a0e1-4e76db633912" providerId="ADAL" clId="{B914494A-F278-4C75-B5BF-52D7B31E87BB}" dt="2022-12-17T14:54:30.836" v="4943"/>
          <ac:grpSpMkLst>
            <pc:docMk/>
            <pc:sldMk cId="232990934" sldId="264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914494A-F278-4C75-B5BF-52D7B31E87BB}" dt="2022-12-17T15:02:11.449" v="5101"/>
          <ac:graphicFrameMkLst>
            <pc:docMk/>
            <pc:sldMk cId="232990934" sldId="264"/>
            <ac:graphicFrameMk id="4" creationId="{637DE2E9-A32B-4253-BD3A-484BBC42BC88}"/>
          </ac:graphicFrameMkLst>
        </pc:graphicFrameChg>
        <pc:graphicFrameChg chg="del mod">
          <ac:chgData name="Joan Viladomiu Tora" userId="769a1043-f370-4a5b-a0e1-4e76db633912" providerId="ADAL" clId="{B914494A-F278-4C75-B5BF-52D7B31E87BB}" dt="2022-12-17T14:54:39.692" v="4945" actId="478"/>
          <ac:graphicFrameMkLst>
            <pc:docMk/>
            <pc:sldMk cId="232990934" sldId="264"/>
            <ac:graphicFrameMk id="36" creationId="{01F6717A-EDA3-4D3C-8867-0B0484A79498}"/>
          </ac:graphicFrameMkLst>
        </pc:graphicFrameChg>
        <pc:cxnChg chg="add del">
          <ac:chgData name="Joan Viladomiu Tora" userId="769a1043-f370-4a5b-a0e1-4e76db633912" providerId="ADAL" clId="{B914494A-F278-4C75-B5BF-52D7B31E87BB}" dt="2022-12-17T14:58:41.185" v="4982" actId="478"/>
          <ac:cxnSpMkLst>
            <pc:docMk/>
            <pc:sldMk cId="232990934" sldId="264"/>
            <ac:cxnSpMk id="5" creationId="{C600ACBF-5518-40B9-9502-EE316F7FBD65}"/>
          </ac:cxnSpMkLst>
        </pc:cxnChg>
        <pc:cxnChg chg="add del mod">
          <ac:chgData name="Joan Viladomiu Tora" userId="769a1043-f370-4a5b-a0e1-4e76db633912" providerId="ADAL" clId="{B914494A-F278-4C75-B5BF-52D7B31E87BB}" dt="2022-12-17T14:58:44.508" v="4983" actId="478"/>
          <ac:cxnSpMkLst>
            <pc:docMk/>
            <pc:sldMk cId="232990934" sldId="264"/>
            <ac:cxnSpMk id="33" creationId="{9E2D5900-069B-4AF3-83FA-5F25D4F7C727}"/>
          </ac:cxnSpMkLst>
        </pc:cxnChg>
        <pc:cxnChg chg="add del mod">
          <ac:chgData name="Joan Viladomiu Tora" userId="769a1043-f370-4a5b-a0e1-4e76db633912" providerId="ADAL" clId="{B914494A-F278-4C75-B5BF-52D7B31E87BB}" dt="2022-12-17T14:58:29.559" v="4981" actId="478"/>
          <ac:cxnSpMkLst>
            <pc:docMk/>
            <pc:sldMk cId="232990934" sldId="264"/>
            <ac:cxnSpMk id="35" creationId="{1963D438-25BC-412D-9D0A-1C78CB6B08B6}"/>
          </ac:cxnSpMkLst>
        </pc:cxnChg>
        <pc:cxnChg chg="add del mod">
          <ac:chgData name="Joan Viladomiu Tora" userId="769a1043-f370-4a5b-a0e1-4e76db633912" providerId="ADAL" clId="{B914494A-F278-4C75-B5BF-52D7B31E87BB}" dt="2022-12-17T14:58:29.559" v="4981" actId="478"/>
          <ac:cxnSpMkLst>
            <pc:docMk/>
            <pc:sldMk cId="232990934" sldId="264"/>
            <ac:cxnSpMk id="37" creationId="{6F2346DF-8952-4B72-B820-7B2D82864629}"/>
          </ac:cxnSpMkLst>
        </pc:cxnChg>
      </pc:sldChg>
      <pc:sldChg chg="modSp add del ord">
        <pc:chgData name="Joan Viladomiu Tora" userId="769a1043-f370-4a5b-a0e1-4e76db633912" providerId="ADAL" clId="{B914494A-F278-4C75-B5BF-52D7B31E87BB}" dt="2022-12-22T15:00:51.763" v="12836" actId="47"/>
        <pc:sldMkLst>
          <pc:docMk/>
          <pc:sldMk cId="2752790595" sldId="264"/>
        </pc:sldMkLst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3" creationId="{EAFFC853-3152-416C-8C98-D3A291F725F1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6" creationId="{72E75176-351B-49B7-9345-6B0912011C6D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23" creationId="{4D097337-DEFB-40F6-B2A8-512AB0CEFA67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24" creationId="{2CF47303-341F-47D4-9B06-878C82F3760A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25" creationId="{965F0AEE-2DBA-4389-95AD-BBDF32471416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37" creationId="{78A17C94-D833-4CE5-A36A-47971A718787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38" creationId="{A3CE8737-DE54-4F9B-AA84-871CA62E775E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39" creationId="{7D12657B-39ED-4107-B3A3-C22665CE29CD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41" creationId="{2D9AA5CC-A185-44DF-B870-DA2DC1F819A1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43" creationId="{DF83FDE7-C0CF-426C-8BFE-2C9395FCD1F1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45" creationId="{4C2BEE10-6B61-43B2-A5E8-5C5ADD5DBC38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46" creationId="{360FF63A-F9C4-438E-A5AB-EE9F8E57B812}"/>
          </ac:spMkLst>
        </pc:spChg>
        <pc:spChg chg="mod">
          <ac:chgData name="Joan Viladomiu Tora" userId="769a1043-f370-4a5b-a0e1-4e76db633912" providerId="ADAL" clId="{B914494A-F278-4C75-B5BF-52D7B31E87BB}" dt="2022-12-22T15:00:36.282" v="12824"/>
          <ac:spMkLst>
            <pc:docMk/>
            <pc:sldMk cId="2752790595" sldId="264"/>
            <ac:spMk id="47" creationId="{C6493AA4-1D3F-42F9-BC86-7CCACE9D4BBF}"/>
          </ac:spMkLst>
        </pc:spChg>
        <pc:grpChg chg="mod">
          <ac:chgData name="Joan Viladomiu Tora" userId="769a1043-f370-4a5b-a0e1-4e76db633912" providerId="ADAL" clId="{B914494A-F278-4C75-B5BF-52D7B31E87BB}" dt="2022-12-22T15:00:36.282" v="12824"/>
          <ac:grpSpMkLst>
            <pc:docMk/>
            <pc:sldMk cId="2752790595" sldId="264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914494A-F278-4C75-B5BF-52D7B31E87BB}" dt="2022-12-22T15:00:36.282" v="12824"/>
          <ac:graphicFrameMkLst>
            <pc:docMk/>
            <pc:sldMk cId="2752790595" sldId="264"/>
            <ac:graphicFrameMk id="4" creationId="{637DE2E9-A32B-4253-BD3A-484BBC42BC88}"/>
          </ac:graphicFrameMkLst>
        </pc:graphicFrameChg>
      </pc:sldChg>
      <pc:sldChg chg="addSp delSp modSp add del mod">
        <pc:chgData name="Joan Viladomiu Tora" userId="769a1043-f370-4a5b-a0e1-4e76db633912" providerId="ADAL" clId="{B914494A-F278-4C75-B5BF-52D7B31E87BB}" dt="2022-12-22T08:55:40.901" v="8704" actId="47"/>
        <pc:sldMkLst>
          <pc:docMk/>
          <pc:sldMk cId="2991619042" sldId="264"/>
        </pc:sldMkLst>
        <pc:spChg chg="mod">
          <ac:chgData name="Joan Viladomiu Tora" userId="769a1043-f370-4a5b-a0e1-4e76db633912" providerId="ADAL" clId="{B914494A-F278-4C75-B5BF-52D7B31E87BB}" dt="2022-12-22T08:54:28.035" v="8650" actId="948"/>
          <ac:spMkLst>
            <pc:docMk/>
            <pc:sldMk cId="2991619042" sldId="264"/>
            <ac:spMk id="3" creationId="{EAFFC853-3152-416C-8C98-D3A291F725F1}"/>
          </ac:spMkLst>
        </pc:spChg>
        <pc:spChg chg="add del mod modVis">
          <ac:chgData name="Joan Viladomiu Tora" userId="769a1043-f370-4a5b-a0e1-4e76db633912" providerId="ADAL" clId="{B914494A-F278-4C75-B5BF-52D7B31E87BB}" dt="2022-12-22T08:54:28.127" v="8689"/>
          <ac:spMkLst>
            <pc:docMk/>
            <pc:sldMk cId="2991619042" sldId="264"/>
            <ac:spMk id="5" creationId="{1B07FAF3-FE6D-4F06-9B87-0DD9A76F157A}"/>
          </ac:spMkLst>
        </pc:spChg>
        <pc:spChg chg="del mod">
          <ac:chgData name="Joan Viladomiu Tora" userId="769a1043-f370-4a5b-a0e1-4e76db633912" providerId="ADAL" clId="{B914494A-F278-4C75-B5BF-52D7B31E87BB}" dt="2022-12-22T08:51:27.693" v="8529" actId="478"/>
          <ac:spMkLst>
            <pc:docMk/>
            <pc:sldMk cId="2991619042" sldId="264"/>
            <ac:spMk id="9" creationId="{A265E744-6A90-4AF4-BD06-3B7FB9AF82CC}"/>
          </ac:spMkLst>
        </pc:spChg>
        <pc:spChg chg="del mod">
          <ac:chgData name="Joan Viladomiu Tora" userId="769a1043-f370-4a5b-a0e1-4e76db633912" providerId="ADAL" clId="{B914494A-F278-4C75-B5BF-52D7B31E87BB}" dt="2022-12-22T08:47:46.135" v="8341" actId="478"/>
          <ac:spMkLst>
            <pc:docMk/>
            <pc:sldMk cId="2991619042" sldId="264"/>
            <ac:spMk id="12" creationId="{DC3F8E6E-393E-42AC-BF37-5219D4FD146C}"/>
          </ac:spMkLst>
        </pc:spChg>
        <pc:spChg chg="add del mod">
          <ac:chgData name="Joan Viladomiu Tora" userId="769a1043-f370-4a5b-a0e1-4e76db633912" providerId="ADAL" clId="{B914494A-F278-4C75-B5BF-52D7B31E87BB}" dt="2022-12-22T08:47:46.135" v="8341" actId="478"/>
          <ac:spMkLst>
            <pc:docMk/>
            <pc:sldMk cId="2991619042" sldId="264"/>
            <ac:spMk id="13" creationId="{404CC24D-DFBE-4686-A769-380B4ABA58D5}"/>
          </ac:spMkLst>
        </pc:spChg>
        <pc:spChg chg="del mod">
          <ac:chgData name="Joan Viladomiu Tora" userId="769a1043-f370-4a5b-a0e1-4e76db633912" providerId="ADAL" clId="{B914494A-F278-4C75-B5BF-52D7B31E87BB}" dt="2022-12-22T08:47:48.095" v="8342" actId="478"/>
          <ac:spMkLst>
            <pc:docMk/>
            <pc:sldMk cId="2991619042" sldId="264"/>
            <ac:spMk id="14" creationId="{6C9B7F3B-D7AF-4245-8989-D1DA9AD681BF}"/>
          </ac:spMkLst>
        </pc:spChg>
        <pc:spChg chg="add mod topLvl">
          <ac:chgData name="Joan Viladomiu Tora" userId="769a1043-f370-4a5b-a0e1-4e76db633912" providerId="ADAL" clId="{B914494A-F278-4C75-B5BF-52D7B31E87BB}" dt="2022-12-22T08:48:57.870" v="8379" actId="165"/>
          <ac:spMkLst>
            <pc:docMk/>
            <pc:sldMk cId="2991619042" sldId="264"/>
            <ac:spMk id="15" creationId="{9B2228ED-12A7-438D-B0C4-27E7F42317E4}"/>
          </ac:spMkLst>
        </pc:spChg>
        <pc:spChg chg="add mod topLvl">
          <ac:chgData name="Joan Viladomiu Tora" userId="769a1043-f370-4a5b-a0e1-4e76db633912" providerId="ADAL" clId="{B914494A-F278-4C75-B5BF-52D7B31E87BB}" dt="2022-12-22T08:54:53.697" v="8694" actId="12788"/>
          <ac:spMkLst>
            <pc:docMk/>
            <pc:sldMk cId="2991619042" sldId="264"/>
            <ac:spMk id="16" creationId="{CB6426AE-2B49-4125-A4A2-9D6A1BEACAD4}"/>
          </ac:spMkLst>
        </pc:spChg>
        <pc:spChg chg="add del mod">
          <ac:chgData name="Joan Viladomiu Tora" userId="769a1043-f370-4a5b-a0e1-4e76db633912" providerId="ADAL" clId="{B914494A-F278-4C75-B5BF-52D7B31E87BB}" dt="2022-12-22T08:55:19.097" v="8699" actId="21"/>
          <ac:spMkLst>
            <pc:docMk/>
            <pc:sldMk cId="2991619042" sldId="264"/>
            <ac:spMk id="17" creationId="{3C3E5ADC-377A-47CB-AFD8-ACFC85D2487F}"/>
          </ac:spMkLst>
        </pc:spChg>
        <pc:spChg chg="add del mod">
          <ac:chgData name="Joan Viladomiu Tora" userId="769a1043-f370-4a5b-a0e1-4e76db633912" providerId="ADAL" clId="{B914494A-F278-4C75-B5BF-52D7B31E87BB}" dt="2022-12-22T08:50:55.975" v="8467" actId="478"/>
          <ac:spMkLst>
            <pc:docMk/>
            <pc:sldMk cId="2991619042" sldId="264"/>
            <ac:spMk id="18" creationId="{9D35087F-31E4-4474-950B-43670336E914}"/>
          </ac:spMkLst>
        </pc:spChg>
        <pc:spChg chg="add del mod">
          <ac:chgData name="Joan Viladomiu Tora" userId="769a1043-f370-4a5b-a0e1-4e76db633912" providerId="ADAL" clId="{B914494A-F278-4C75-B5BF-52D7B31E87BB}" dt="2022-12-22T08:55:19.097" v="8699" actId="21"/>
          <ac:spMkLst>
            <pc:docMk/>
            <pc:sldMk cId="2991619042" sldId="264"/>
            <ac:spMk id="19" creationId="{0102C7DE-12ED-4553-9E99-D5F1EFF3C43D}"/>
          </ac:spMkLst>
        </pc:spChg>
        <pc:spChg chg="add mod">
          <ac:chgData name="Joan Viladomiu Tora" userId="769a1043-f370-4a5b-a0e1-4e76db633912" providerId="ADAL" clId="{B914494A-F278-4C75-B5BF-52D7B31E87BB}" dt="2022-12-22T08:55:00.802" v="8696" actId="14100"/>
          <ac:spMkLst>
            <pc:docMk/>
            <pc:sldMk cId="2991619042" sldId="264"/>
            <ac:spMk id="20" creationId="{3D633787-AFF4-4928-A4D4-31F137E0B4BB}"/>
          </ac:spMkLst>
        </pc:spChg>
        <pc:spChg chg="mod">
          <ac:chgData name="Joan Viladomiu Tora" userId="769a1043-f370-4a5b-a0e1-4e76db633912" providerId="ADAL" clId="{B914494A-F278-4C75-B5BF-52D7B31E87BB}" dt="2022-12-22T08:47:35.957" v="8337"/>
          <ac:spMkLst>
            <pc:docMk/>
            <pc:sldMk cId="2991619042" sldId="264"/>
            <ac:spMk id="21" creationId="{2AAC6F0C-1BA2-4121-A1E0-D75E407A58CB}"/>
          </ac:spMkLst>
        </pc:spChg>
        <pc:spChg chg="mod">
          <ac:chgData name="Joan Viladomiu Tora" userId="769a1043-f370-4a5b-a0e1-4e76db633912" providerId="ADAL" clId="{B914494A-F278-4C75-B5BF-52D7B31E87BB}" dt="2022-12-22T08:52:29.705" v="8610" actId="1076"/>
          <ac:spMkLst>
            <pc:docMk/>
            <pc:sldMk cId="2991619042" sldId="264"/>
            <ac:spMk id="22" creationId="{AF83746A-3FD7-4EA6-8F7F-550152B72ADC}"/>
          </ac:spMkLst>
        </pc:spChg>
        <pc:spChg chg="mod">
          <ac:chgData name="Joan Viladomiu Tora" userId="769a1043-f370-4a5b-a0e1-4e76db633912" providerId="ADAL" clId="{B914494A-F278-4C75-B5BF-52D7B31E87BB}" dt="2022-12-22T08:47:35.957" v="8337"/>
          <ac:spMkLst>
            <pc:docMk/>
            <pc:sldMk cId="2991619042" sldId="264"/>
            <ac:spMk id="23" creationId="{4CF3AAEA-2CE5-4DB8-88E0-F63AC0048FAE}"/>
          </ac:spMkLst>
        </pc:spChg>
        <pc:spChg chg="del mod">
          <ac:chgData name="Joan Viladomiu Tora" userId="769a1043-f370-4a5b-a0e1-4e76db633912" providerId="ADAL" clId="{B914494A-F278-4C75-B5BF-52D7B31E87BB}" dt="2022-12-22T08:48:42.423" v="8370" actId="478"/>
          <ac:spMkLst>
            <pc:docMk/>
            <pc:sldMk cId="2991619042" sldId="264"/>
            <ac:spMk id="24" creationId="{6B138F60-C1C2-4ADD-99F0-40E43666CEE9}"/>
          </ac:spMkLst>
        </pc:spChg>
        <pc:spChg chg="del mod">
          <ac:chgData name="Joan Viladomiu Tora" userId="769a1043-f370-4a5b-a0e1-4e76db633912" providerId="ADAL" clId="{B914494A-F278-4C75-B5BF-52D7B31E87BB}" dt="2022-12-22T08:48:42.423" v="8370" actId="478"/>
          <ac:spMkLst>
            <pc:docMk/>
            <pc:sldMk cId="2991619042" sldId="264"/>
            <ac:spMk id="25" creationId="{569D8DF6-66C2-4DE5-8C3E-0B1E55F0A771}"/>
          </ac:spMkLst>
        </pc:spChg>
        <pc:spChg chg="add del mod">
          <ac:chgData name="Joan Viladomiu Tora" userId="769a1043-f370-4a5b-a0e1-4e76db633912" providerId="ADAL" clId="{B914494A-F278-4C75-B5BF-52D7B31E87BB}" dt="2022-12-22T08:55:19.097" v="8699" actId="21"/>
          <ac:spMkLst>
            <pc:docMk/>
            <pc:sldMk cId="2991619042" sldId="264"/>
            <ac:spMk id="26" creationId="{3D54FBDB-F442-41DF-A93F-2AEA0505FB05}"/>
          </ac:spMkLst>
        </pc:spChg>
        <pc:spChg chg="add del mod">
          <ac:chgData name="Joan Viladomiu Tora" userId="769a1043-f370-4a5b-a0e1-4e76db633912" providerId="ADAL" clId="{B914494A-F278-4C75-B5BF-52D7B31E87BB}" dt="2022-12-22T08:55:03.167" v="8697" actId="478"/>
          <ac:spMkLst>
            <pc:docMk/>
            <pc:sldMk cId="2991619042" sldId="264"/>
            <ac:spMk id="27" creationId="{305833C4-E5D9-49D8-8920-F5E77854DFE6}"/>
          </ac:spMkLst>
        </pc:spChg>
        <pc:spChg chg="add mod">
          <ac:chgData name="Joan Viladomiu Tora" userId="769a1043-f370-4a5b-a0e1-4e76db633912" providerId="ADAL" clId="{B914494A-F278-4C75-B5BF-52D7B31E87BB}" dt="2022-12-22T08:55:06.175" v="8698" actId="1076"/>
          <ac:spMkLst>
            <pc:docMk/>
            <pc:sldMk cId="2991619042" sldId="264"/>
            <ac:spMk id="28" creationId="{3AD3B66A-DEA5-4A37-BA07-280205E1757F}"/>
          </ac:spMkLst>
        </pc:spChg>
        <pc:grpChg chg="mod">
          <ac:chgData name="Joan Viladomiu Tora" userId="769a1043-f370-4a5b-a0e1-4e76db633912" providerId="ADAL" clId="{B914494A-F278-4C75-B5BF-52D7B31E87BB}" dt="2022-12-22T08:47:35.957" v="8337"/>
          <ac:grpSpMkLst>
            <pc:docMk/>
            <pc:sldMk cId="2991619042" sldId="264"/>
            <ac:grpSpMk id="1" creationId="{00000000-0000-0000-0000-000000000000}"/>
          </ac:grpSpMkLst>
        </pc:grpChg>
        <pc:grpChg chg="add del mod">
          <ac:chgData name="Joan Viladomiu Tora" userId="769a1043-f370-4a5b-a0e1-4e76db633912" providerId="ADAL" clId="{B914494A-F278-4C75-B5BF-52D7B31E87BB}" dt="2022-12-22T08:48:57.870" v="8379" actId="165"/>
          <ac:grpSpMkLst>
            <pc:docMk/>
            <pc:sldMk cId="2991619042" sldId="264"/>
            <ac:grpSpMk id="2" creationId="{A6956E24-8776-40B8-8B74-B2D73DD5B70B}"/>
          </ac:grpSpMkLst>
        </pc:grpChg>
        <pc:graphicFrameChg chg="mod">
          <ac:chgData name="Joan Viladomiu Tora" userId="769a1043-f370-4a5b-a0e1-4e76db633912" providerId="ADAL" clId="{B914494A-F278-4C75-B5BF-52D7B31E87BB}" dt="2022-12-22T08:54:28.127" v="8691"/>
          <ac:graphicFrameMkLst>
            <pc:docMk/>
            <pc:sldMk cId="2991619042" sldId="264"/>
            <ac:graphicFrameMk id="4" creationId="{637DE2E9-A32B-4253-BD3A-484BBC42BC88}"/>
          </ac:graphicFrameMkLst>
        </pc:graphicFrameChg>
      </pc:sldChg>
      <pc:sldChg chg="delSp modSp add del mod">
        <pc:chgData name="Joan Viladomiu Tora" userId="769a1043-f370-4a5b-a0e1-4e76db633912" providerId="ADAL" clId="{B914494A-F278-4C75-B5BF-52D7B31E87BB}" dt="2022-12-21T22:44:39.242" v="8095" actId="47"/>
        <pc:sldMkLst>
          <pc:docMk/>
          <pc:sldMk cId="3601475187" sldId="264"/>
        </pc:sldMkLst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3" creationId="{EAFFC853-3152-416C-8C98-D3A291F725F1}"/>
          </ac:spMkLst>
        </pc:spChg>
        <pc:spChg chg="del mod">
          <ac:chgData name="Joan Viladomiu Tora" userId="769a1043-f370-4a5b-a0e1-4e76db633912" providerId="ADAL" clId="{B914494A-F278-4C75-B5BF-52D7B31E87BB}" dt="2022-12-21T22:44:22.309" v="8092" actId="21"/>
          <ac:spMkLst>
            <pc:docMk/>
            <pc:sldMk cId="3601475187" sldId="264"/>
            <ac:spMk id="17" creationId="{7BC0A0FF-59C8-48A1-9935-A1D67684DCAA}"/>
          </ac:spMkLst>
        </pc:spChg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31" creationId="{F55EC592-C7C1-40B7-9B02-9C43AE09812B}"/>
          </ac:spMkLst>
        </pc:spChg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32" creationId="{56507984-5F7D-4068-92A7-AE64265D004D}"/>
          </ac:spMkLst>
        </pc:spChg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39" creationId="{53DD9AA9-5CF8-4C56-B5B2-F1EA3327A92C}"/>
          </ac:spMkLst>
        </pc:spChg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40" creationId="{13E6B38D-CA91-426F-A3AC-6646EF3961D8}"/>
          </ac:spMkLst>
        </pc:spChg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43" creationId="{790A53C9-588C-4B65-8E16-5B9CB5CC4894}"/>
          </ac:spMkLst>
        </pc:spChg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44" creationId="{95D08666-966A-4FBA-A508-B7D2175FABB9}"/>
          </ac:spMkLst>
        </pc:spChg>
        <pc:spChg chg="mod">
          <ac:chgData name="Joan Viladomiu Tora" userId="769a1043-f370-4a5b-a0e1-4e76db633912" providerId="ADAL" clId="{B914494A-F278-4C75-B5BF-52D7B31E87BB}" dt="2022-12-21T22:40:55.728" v="7930"/>
          <ac:spMkLst>
            <pc:docMk/>
            <pc:sldMk cId="3601475187" sldId="264"/>
            <ac:spMk id="54" creationId="{D696070B-8CAD-4D99-9C56-DF05533AE0D1}"/>
          </ac:spMkLst>
        </pc:spChg>
        <pc:grpChg chg="mod">
          <ac:chgData name="Joan Viladomiu Tora" userId="769a1043-f370-4a5b-a0e1-4e76db633912" providerId="ADAL" clId="{B914494A-F278-4C75-B5BF-52D7B31E87BB}" dt="2022-12-21T22:40:55.728" v="7930"/>
          <ac:grpSpMkLst>
            <pc:docMk/>
            <pc:sldMk cId="3601475187" sldId="264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914494A-F278-4C75-B5BF-52D7B31E87BB}" dt="2022-12-21T22:40:55.728" v="7930"/>
          <ac:graphicFrameMkLst>
            <pc:docMk/>
            <pc:sldMk cId="3601475187" sldId="264"/>
            <ac:graphicFrameMk id="4" creationId="{637DE2E9-A32B-4253-BD3A-484BBC42BC88}"/>
          </ac:graphicFrameMkLst>
        </pc:graphicFrameChg>
        <pc:picChg chg="mod">
          <ac:chgData name="Joan Viladomiu Tora" userId="769a1043-f370-4a5b-a0e1-4e76db633912" providerId="ADAL" clId="{B914494A-F278-4C75-B5BF-52D7B31E87BB}" dt="2022-12-21T22:40:55.728" v="7930"/>
          <ac:picMkLst>
            <pc:docMk/>
            <pc:sldMk cId="3601475187" sldId="264"/>
            <ac:picMk id="48" creationId="{CDBC06E8-CB6A-4B13-88BB-20D16BFA2339}"/>
          </ac:picMkLst>
        </pc:picChg>
        <pc:picChg chg="mod">
          <ac:chgData name="Joan Viladomiu Tora" userId="769a1043-f370-4a5b-a0e1-4e76db633912" providerId="ADAL" clId="{B914494A-F278-4C75-B5BF-52D7B31E87BB}" dt="2022-12-21T22:40:55.728" v="7930"/>
          <ac:picMkLst>
            <pc:docMk/>
            <pc:sldMk cId="3601475187" sldId="264"/>
            <ac:picMk id="50" creationId="{25350B5B-C70B-4EB5-A689-2E8815909A54}"/>
          </ac:picMkLst>
        </pc:picChg>
      </pc:sldChg>
      <pc:sldChg chg="addSp delSp modSp add del mod ord">
        <pc:chgData name="Joan Viladomiu Tora" userId="769a1043-f370-4a5b-a0e1-4e76db633912" providerId="ADAL" clId="{B914494A-F278-4C75-B5BF-52D7B31E87BB}" dt="2022-12-22T09:24:56.776" v="8762" actId="47"/>
        <pc:sldMkLst>
          <pc:docMk/>
          <pc:sldMk cId="3935674648" sldId="264"/>
        </pc:sldMkLst>
        <pc:spChg chg="add del mod">
          <ac:chgData name="Joan Viladomiu Tora" userId="769a1043-f370-4a5b-a0e1-4e76db633912" providerId="ADAL" clId="{B914494A-F278-4C75-B5BF-52D7B31E87BB}" dt="2022-12-22T09:24:34.660" v="8715" actId="478"/>
          <ac:spMkLst>
            <pc:docMk/>
            <pc:sldMk cId="3935674648" sldId="264"/>
            <ac:spMk id="2" creationId="{4FAAB71C-CD9D-4D85-A3C8-38B8ABCE5DE4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3" creationId="{EAFFC853-3152-416C-8C98-D3A291F725F1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6" creationId="{72E75176-351B-49B7-9345-6B0912011C6D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23" creationId="{4D097337-DEFB-40F6-B2A8-512AB0CEFA67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24" creationId="{2CF47303-341F-47D4-9B06-878C82F3760A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25" creationId="{965F0AEE-2DBA-4389-95AD-BBDF32471416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37" creationId="{78A17C94-D833-4CE5-A36A-47971A718787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38" creationId="{A3CE8737-DE54-4F9B-AA84-871CA62E775E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39" creationId="{7D12657B-39ED-4107-B3A3-C22665CE29CD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41" creationId="{2D9AA5CC-A185-44DF-B870-DA2DC1F819A1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43" creationId="{DF83FDE7-C0CF-426C-8BFE-2C9395FCD1F1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45" creationId="{4C2BEE10-6B61-43B2-A5E8-5C5ADD5DBC38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46" creationId="{360FF63A-F9C4-438E-A5AB-EE9F8E57B812}"/>
          </ac:spMkLst>
        </pc:spChg>
        <pc:spChg chg="mod ord">
          <ac:chgData name="Joan Viladomiu Tora" userId="769a1043-f370-4a5b-a0e1-4e76db633912" providerId="ADAL" clId="{B914494A-F278-4C75-B5BF-52D7B31E87BB}" dt="2022-12-22T09:24:47.153" v="8759"/>
          <ac:spMkLst>
            <pc:docMk/>
            <pc:sldMk cId="3935674648" sldId="264"/>
            <ac:spMk id="47" creationId="{C6493AA4-1D3F-42F9-BC86-7CCACE9D4BBF}"/>
          </ac:spMkLst>
        </pc:spChg>
        <pc:grpChg chg="mod">
          <ac:chgData name="Joan Viladomiu Tora" userId="769a1043-f370-4a5b-a0e1-4e76db633912" providerId="ADAL" clId="{B914494A-F278-4C75-B5BF-52D7B31E87BB}" dt="2022-12-22T09:23:26.293" v="8708"/>
          <ac:grpSpMkLst>
            <pc:docMk/>
            <pc:sldMk cId="3935674648" sldId="264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914494A-F278-4C75-B5BF-52D7B31E87BB}" dt="2022-12-22T09:24:47.265" v="8761"/>
          <ac:graphicFrameMkLst>
            <pc:docMk/>
            <pc:sldMk cId="3935674648" sldId="264"/>
            <ac:graphicFrameMk id="4" creationId="{637DE2E9-A32B-4253-BD3A-484BBC42BC88}"/>
          </ac:graphicFrameMkLst>
        </pc:graphicFrameChg>
      </pc:sldChg>
      <pc:sldChg chg="modSp add del ord">
        <pc:chgData name="Joan Viladomiu Tora" userId="769a1043-f370-4a5b-a0e1-4e76db633912" providerId="ADAL" clId="{B914494A-F278-4C75-B5BF-52D7B31E87BB}" dt="2022-12-22T15:00:50.907" v="12835" actId="47"/>
        <pc:sldMkLst>
          <pc:docMk/>
          <pc:sldMk cId="4089084776" sldId="265"/>
        </pc:sldMkLst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3" creationId="{EAFFC853-3152-416C-8C98-D3A291F725F1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6" creationId="{72E75176-351B-49B7-9345-6B0912011C6D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23" creationId="{4D097337-DEFB-40F6-B2A8-512AB0CEFA67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24" creationId="{2CF47303-341F-47D4-9B06-878C82F3760A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25" creationId="{965F0AEE-2DBA-4389-95AD-BBDF32471416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37" creationId="{78A17C94-D833-4CE5-A36A-47971A718787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38" creationId="{A3CE8737-DE54-4F9B-AA84-871CA62E775E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39" creationId="{7D12657B-39ED-4107-B3A3-C22665CE29CD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41" creationId="{2D9AA5CC-A185-44DF-B870-DA2DC1F819A1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43" creationId="{DF83FDE7-C0CF-426C-8BFE-2C9395FCD1F1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45" creationId="{4C2BEE10-6B61-43B2-A5E8-5C5ADD5DBC38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46" creationId="{360FF63A-F9C4-438E-A5AB-EE9F8E57B812}"/>
          </ac:spMkLst>
        </pc:spChg>
        <pc:spChg chg="mod">
          <ac:chgData name="Joan Viladomiu Tora" userId="769a1043-f370-4a5b-a0e1-4e76db633912" providerId="ADAL" clId="{B914494A-F278-4C75-B5BF-52D7B31E87BB}" dt="2022-12-22T15:00:38.854" v="12827"/>
          <ac:spMkLst>
            <pc:docMk/>
            <pc:sldMk cId="4089084776" sldId="265"/>
            <ac:spMk id="47" creationId="{C6493AA4-1D3F-42F9-BC86-7CCACE9D4BBF}"/>
          </ac:spMkLst>
        </pc:spChg>
        <pc:grpChg chg="mod">
          <ac:chgData name="Joan Viladomiu Tora" userId="769a1043-f370-4a5b-a0e1-4e76db633912" providerId="ADAL" clId="{B914494A-F278-4C75-B5BF-52D7B31E87BB}" dt="2022-12-22T15:00:38.854" v="12827"/>
          <ac:grpSpMkLst>
            <pc:docMk/>
            <pc:sldMk cId="4089084776" sldId="265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914494A-F278-4C75-B5BF-52D7B31E87BB}" dt="2022-12-22T15:00:38.854" v="12827"/>
          <ac:graphicFrameMkLst>
            <pc:docMk/>
            <pc:sldMk cId="4089084776" sldId="265"/>
            <ac:graphicFrameMk id="4" creationId="{637DE2E9-A32B-4253-BD3A-484BBC42BC88}"/>
          </ac:graphicFrameMkLst>
        </pc:graphicFrameChg>
      </pc:sldChg>
      <pc:sldChg chg="modSp add del ord">
        <pc:chgData name="Joan Viladomiu Tora" userId="769a1043-f370-4a5b-a0e1-4e76db633912" providerId="ADAL" clId="{B914494A-F278-4C75-B5BF-52D7B31E87BB}" dt="2022-12-22T15:00:49.840" v="12834" actId="47"/>
        <pc:sldMkLst>
          <pc:docMk/>
          <pc:sldMk cId="153441994" sldId="266"/>
        </pc:sldMkLst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3" creationId="{EAFFC853-3152-416C-8C98-D3A291F725F1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6" creationId="{72E75176-351B-49B7-9345-6B0912011C6D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23" creationId="{4D097337-DEFB-40F6-B2A8-512AB0CEFA67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24" creationId="{2CF47303-341F-47D4-9B06-878C82F3760A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25" creationId="{965F0AEE-2DBA-4389-95AD-BBDF32471416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37" creationId="{78A17C94-D833-4CE5-A36A-47971A718787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38" creationId="{A3CE8737-DE54-4F9B-AA84-871CA62E775E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39" creationId="{7D12657B-39ED-4107-B3A3-C22665CE29CD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41" creationId="{2D9AA5CC-A185-44DF-B870-DA2DC1F819A1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43" creationId="{DF83FDE7-C0CF-426C-8BFE-2C9395FCD1F1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45" creationId="{4C2BEE10-6B61-43B2-A5E8-5C5ADD5DBC38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46" creationId="{360FF63A-F9C4-438E-A5AB-EE9F8E57B812}"/>
          </ac:spMkLst>
        </pc:spChg>
        <pc:spChg chg="mod">
          <ac:chgData name="Joan Viladomiu Tora" userId="769a1043-f370-4a5b-a0e1-4e76db633912" providerId="ADAL" clId="{B914494A-F278-4C75-B5BF-52D7B31E87BB}" dt="2022-12-22T15:00:41.338" v="12831"/>
          <ac:spMkLst>
            <pc:docMk/>
            <pc:sldMk cId="153441994" sldId="266"/>
            <ac:spMk id="47" creationId="{C6493AA4-1D3F-42F9-BC86-7CCACE9D4BBF}"/>
          </ac:spMkLst>
        </pc:spChg>
        <pc:grpChg chg="mod">
          <ac:chgData name="Joan Viladomiu Tora" userId="769a1043-f370-4a5b-a0e1-4e76db633912" providerId="ADAL" clId="{B914494A-F278-4C75-B5BF-52D7B31E87BB}" dt="2022-12-22T15:00:41.338" v="12831"/>
          <ac:grpSpMkLst>
            <pc:docMk/>
            <pc:sldMk cId="153441994" sldId="266"/>
            <ac:grpSpMk id="1" creationId="{00000000-0000-0000-0000-000000000000}"/>
          </ac:grpSpMkLst>
        </pc:grpChg>
        <pc:graphicFrameChg chg="mod">
          <ac:chgData name="Joan Viladomiu Tora" userId="769a1043-f370-4a5b-a0e1-4e76db633912" providerId="ADAL" clId="{B914494A-F278-4C75-B5BF-52D7B31E87BB}" dt="2022-12-22T15:00:41.338" v="12831"/>
          <ac:graphicFrameMkLst>
            <pc:docMk/>
            <pc:sldMk cId="153441994" sldId="266"/>
            <ac:graphicFrameMk id="4" creationId="{637DE2E9-A32B-4253-BD3A-484BBC42BC88}"/>
          </ac:graphicFrameMkLst>
        </pc:graphicFrameChg>
      </pc:sldChg>
      <pc:sldMasterChg chg="addSp modSp del mod">
        <pc:chgData name="Joan Viladomiu Tora" userId="769a1043-f370-4a5b-a0e1-4e76db633912" providerId="ADAL" clId="{B914494A-F278-4C75-B5BF-52D7B31E87BB}" dt="2022-12-06T15:40:54.941" v="16" actId="2696"/>
        <pc:sldMasterMkLst>
          <pc:docMk/>
          <pc:sldMasterMk cId="1507962020" sldId="2147483648"/>
        </pc:sldMasterMkLst>
        <pc:graphicFrameChg chg="add mod modVis">
          <ac:chgData name="Joan Viladomiu Tora" userId="769a1043-f370-4a5b-a0e1-4e76db633912" providerId="ADAL" clId="{B914494A-F278-4C75-B5BF-52D7B31E87BB}" dt="2022-12-06T15:40:47.856" v="13"/>
          <ac:graphicFrameMkLst>
            <pc:docMk/>
            <pc:sldMasterMk cId="1507962020" sldId="2147483648"/>
            <ac:graphicFrameMk id="2" creationId="{EDFAE266-788C-454B-8A37-AC66DC85F6F0}"/>
          </ac:graphicFrameMkLst>
        </pc:graphicFrameChg>
      </pc:sldMasterChg>
      <pc:sldMasterChg chg="addSp delSp modSp mod addSldLayout delSldLayout modSldLayout sldLayoutOrd">
        <pc:chgData name="Joan Viladomiu Tora" userId="769a1043-f370-4a5b-a0e1-4e76db633912" providerId="ADAL" clId="{B914494A-F278-4C75-B5BF-52D7B31E87BB}" dt="2022-12-21T22:30:48.637" v="7741" actId="207"/>
        <pc:sldMasterMkLst>
          <pc:docMk/>
          <pc:sldMasterMk cId="1978343168" sldId="2147483649"/>
        </pc:sldMasterMkLst>
        <pc:spChg chg="mod">
          <ac:chgData name="Joan Viladomiu Tora" userId="769a1043-f370-4a5b-a0e1-4e76db633912" providerId="ADAL" clId="{B914494A-F278-4C75-B5BF-52D7B31E87BB}" dt="2022-12-17T11:31:21.366" v="2149" actId="20577"/>
          <ac:spMkLst>
            <pc:docMk/>
            <pc:sldMasterMk cId="1978343168" sldId="2147483649"/>
            <ac:spMk id="3" creationId="{00000000-0000-0000-0000-000000000000}"/>
          </ac:spMkLst>
        </pc:spChg>
        <pc:spChg chg="mod">
          <ac:chgData name="Joan Viladomiu Tora" userId="769a1043-f370-4a5b-a0e1-4e76db633912" providerId="ADAL" clId="{B914494A-F278-4C75-B5BF-52D7B31E87BB}" dt="2022-12-17T15:38:05.798" v="5416" actId="12789"/>
          <ac:spMkLst>
            <pc:docMk/>
            <pc:sldMasterMk cId="1978343168" sldId="2147483649"/>
            <ac:spMk id="13" creationId="{00000000-0000-0000-0000-000000000000}"/>
          </ac:spMkLst>
        </pc:spChg>
        <pc:spChg chg="mod">
          <ac:chgData name="Joan Viladomiu Tora" userId="769a1043-f370-4a5b-a0e1-4e76db633912" providerId="ADAL" clId="{B914494A-F278-4C75-B5BF-52D7B31E87BB}" dt="2022-12-17T12:09:16.101" v="2687" actId="208"/>
          <ac:spMkLst>
            <pc:docMk/>
            <pc:sldMasterMk cId="1978343168" sldId="2147483649"/>
            <ac:spMk id="14" creationId="{00000000-0000-0000-0000-000000000000}"/>
          </ac:spMkLst>
        </pc:spChg>
        <pc:spChg chg="del mod">
          <ac:chgData name="Joan Viladomiu Tora" userId="769a1043-f370-4a5b-a0e1-4e76db633912" providerId="ADAL" clId="{B914494A-F278-4C75-B5BF-52D7B31E87BB}" dt="2022-12-17T12:08:01.687" v="2685" actId="478"/>
          <ac:spMkLst>
            <pc:docMk/>
            <pc:sldMasterMk cId="1978343168" sldId="2147483649"/>
            <ac:spMk id="16" creationId="{00000000-0000-0000-0000-000000000000}"/>
          </ac:spMkLst>
        </pc:spChg>
        <pc:spChg chg="mod">
          <ac:chgData name="Joan Viladomiu Tora" userId="769a1043-f370-4a5b-a0e1-4e76db633912" providerId="ADAL" clId="{B914494A-F278-4C75-B5BF-52D7B31E87BB}" dt="2022-12-17T11:31:22.020" v="2268" actId="948"/>
          <ac:spMkLst>
            <pc:docMk/>
            <pc:sldMasterMk cId="1978343168" sldId="2147483649"/>
            <ac:spMk id="17" creationId="{00000000-0000-0000-0000-000000000000}"/>
          </ac:spMkLst>
        </pc:spChg>
        <pc:spChg chg="mod">
          <ac:chgData name="Joan Viladomiu Tora" userId="769a1043-f370-4a5b-a0e1-4e76db633912" providerId="ADAL" clId="{B914494A-F278-4C75-B5BF-52D7B31E87BB}" dt="2022-12-17T15:38:05.798" v="5416" actId="12789"/>
          <ac:spMkLst>
            <pc:docMk/>
            <pc:sldMasterMk cId="1978343168" sldId="2147483649"/>
            <ac:spMk id="19" creationId="{7A62F16D-4EB7-4671-AF6F-82620D0A83EB}"/>
          </ac:spMkLst>
        </pc:spChg>
        <pc:spChg chg="del">
          <ac:chgData name="Joan Viladomiu Tora" userId="769a1043-f370-4a5b-a0e1-4e76db633912" providerId="ADAL" clId="{B914494A-F278-4C75-B5BF-52D7B31E87BB}" dt="2022-12-06T15:40:59.744" v="17" actId="478"/>
          <ac:spMkLst>
            <pc:docMk/>
            <pc:sldMasterMk cId="1978343168" sldId="2147483649"/>
            <ac:spMk id="22" creationId="{41863C7E-385A-46D0-A989-BB39468433DE}"/>
          </ac:spMkLst>
        </pc:spChg>
        <pc:graphicFrameChg chg="mod">
          <ac:chgData name="Joan Viladomiu Tora" userId="769a1043-f370-4a5b-a0e1-4e76db633912" providerId="ADAL" clId="{B914494A-F278-4C75-B5BF-52D7B31E87BB}" dt="2022-12-17T11:31:22.250" v="2380" actId="1076"/>
          <ac:graphicFrameMkLst>
            <pc:docMk/>
            <pc:sldMasterMk cId="1978343168" sldId="2147483649"/>
            <ac:graphicFrameMk id="6" creationId="{00000000-0000-0000-0000-000000000000}"/>
          </ac:graphicFrameMkLst>
        </pc:graphicFrameChg>
        <pc:picChg chg="add mod">
          <ac:chgData name="Joan Viladomiu Tora" userId="769a1043-f370-4a5b-a0e1-4e76db633912" providerId="ADAL" clId="{B914494A-F278-4C75-B5BF-52D7B31E87BB}" dt="2022-12-17T15:38:05.798" v="5416" actId="12789"/>
          <ac:picMkLst>
            <pc:docMk/>
            <pc:sldMasterMk cId="1978343168" sldId="2147483649"/>
            <ac:picMk id="12" creationId="{6FAB22B3-B4D1-4407-9DA6-A4329CF96D44}"/>
          </ac:picMkLst>
        </pc:picChg>
        <pc:picChg chg="add del mod">
          <ac:chgData name="Joan Viladomiu Tora" userId="769a1043-f370-4a5b-a0e1-4e76db633912" providerId="ADAL" clId="{B914494A-F278-4C75-B5BF-52D7B31E87BB}" dt="2022-12-06T15:45:49.653" v="120" actId="478"/>
          <ac:picMkLst>
            <pc:docMk/>
            <pc:sldMasterMk cId="1978343168" sldId="2147483649"/>
            <ac:picMk id="20" creationId="{AD6C4261-0EE3-476F-B8E5-8C5850800A2A}"/>
          </ac:picMkLst>
        </pc:picChg>
        <pc:picChg chg="del">
          <ac:chgData name="Joan Viladomiu Tora" userId="769a1043-f370-4a5b-a0e1-4e76db633912" providerId="ADAL" clId="{B914494A-F278-4C75-B5BF-52D7B31E87BB}" dt="2022-12-06T15:41:00.891" v="18" actId="478"/>
          <ac:picMkLst>
            <pc:docMk/>
            <pc:sldMasterMk cId="1978343168" sldId="2147483649"/>
            <ac:picMk id="21" creationId="{006FCCF0-3818-4500-97BF-9FC438E4875B}"/>
          </ac:picMkLst>
        </pc:picChg>
        <pc:sldLayoutChg chg="addSp delSp modSp mod ord">
          <pc:chgData name="Joan Viladomiu Tora" userId="769a1043-f370-4a5b-a0e1-4e76db633912" providerId="ADAL" clId="{B914494A-F278-4C75-B5BF-52D7B31E87BB}" dt="2022-12-21T22:30:48.637" v="7741" actId="207"/>
          <pc:sldLayoutMkLst>
            <pc:docMk/>
            <pc:sldMasterMk cId="1978343168" sldId="2147483649"/>
            <pc:sldLayoutMk cId="1113847158" sldId="2147483650"/>
          </pc:sldLayoutMkLst>
          <pc:spChg chg="add del mod">
            <ac:chgData name="Joan Viladomiu Tora" userId="769a1043-f370-4a5b-a0e1-4e76db633912" providerId="ADAL" clId="{B914494A-F278-4C75-B5BF-52D7B31E87BB}" dt="2022-12-06T15:54:36.732" v="200" actId="478"/>
            <ac:spMkLst>
              <pc:docMk/>
              <pc:sldMasterMk cId="1978343168" sldId="2147483649"/>
              <pc:sldLayoutMk cId="1113847158" sldId="2147483650"/>
              <ac:spMk id="2" creationId="{65CE64C3-582C-4AE8-BDFC-2AAC2C0C4E52}"/>
            </ac:spMkLst>
          </pc:spChg>
          <pc:spChg chg="add del mod ord">
            <ac:chgData name="Joan Viladomiu Tora" userId="769a1043-f370-4a5b-a0e1-4e76db633912" providerId="ADAL" clId="{B914494A-F278-4C75-B5BF-52D7B31E87BB}" dt="2022-12-17T11:50:33.565" v="2670" actId="478"/>
            <ac:spMkLst>
              <pc:docMk/>
              <pc:sldMasterMk cId="1978343168" sldId="2147483649"/>
              <pc:sldLayoutMk cId="1113847158" sldId="2147483650"/>
              <ac:spMk id="2" creationId="{CCE71DA3-00B2-4EB9-865E-785393FE4C82}"/>
            </ac:spMkLst>
          </pc:spChg>
          <pc:spChg chg="mod ord">
            <ac:chgData name="Joan Viladomiu Tora" userId="769a1043-f370-4a5b-a0e1-4e76db633912" providerId="ADAL" clId="{B914494A-F278-4C75-B5BF-52D7B31E87BB}" dt="2022-12-17T11:40:49.916" v="2583"/>
            <ac:spMkLst>
              <pc:docMk/>
              <pc:sldMasterMk cId="1978343168" sldId="2147483649"/>
              <pc:sldLayoutMk cId="1113847158" sldId="2147483650"/>
              <ac:spMk id="4" creationId="{00000000-0000-0000-0000-000000000000}"/>
            </ac:spMkLst>
          </pc:spChg>
          <pc:spChg chg="add del mod">
            <ac:chgData name="Joan Viladomiu Tora" userId="769a1043-f370-4a5b-a0e1-4e76db633912" providerId="ADAL" clId="{B914494A-F278-4C75-B5BF-52D7B31E87BB}" dt="2022-12-17T11:51:16.123" v="2676" actId="478"/>
            <ac:spMkLst>
              <pc:docMk/>
              <pc:sldMasterMk cId="1978343168" sldId="2147483649"/>
              <pc:sldLayoutMk cId="1113847158" sldId="2147483650"/>
              <ac:spMk id="8" creationId="{16A7D3AF-34E5-44F3-997E-0DFE85E5E596}"/>
            </ac:spMkLst>
          </pc:spChg>
          <pc:spChg chg="add mod ord">
            <ac:chgData name="Joan Viladomiu Tora" userId="769a1043-f370-4a5b-a0e1-4e76db633912" providerId="ADAL" clId="{B914494A-F278-4C75-B5BF-52D7B31E87BB}" dt="2022-12-21T22:30:48.637" v="7741" actId="207"/>
            <ac:spMkLst>
              <pc:docMk/>
              <pc:sldMasterMk cId="1978343168" sldId="2147483649"/>
              <pc:sldLayoutMk cId="1113847158" sldId="2147483650"/>
              <ac:spMk id="12" creationId="{6832A1B3-079F-4E4B-AE45-5BB57C425A1E}"/>
            </ac:spMkLst>
          </pc:spChg>
          <pc:spChg chg="del">
            <ac:chgData name="Joan Viladomiu Tora" userId="769a1043-f370-4a5b-a0e1-4e76db633912" providerId="ADAL" clId="{B914494A-F278-4C75-B5BF-52D7B31E87BB}" dt="2022-12-06T15:51:49.767" v="149" actId="478"/>
            <ac:spMkLst>
              <pc:docMk/>
              <pc:sldMasterMk cId="1978343168" sldId="2147483649"/>
              <pc:sldLayoutMk cId="1113847158" sldId="2147483650"/>
              <ac:spMk id="13" creationId="{0DF6CCFA-A2A1-4CD0-B6B4-DBADB2CA8AB9}"/>
            </ac:spMkLst>
          </pc:spChg>
          <pc:graphicFrameChg chg="mod">
            <ac:chgData name="Joan Viladomiu Tora" userId="769a1043-f370-4a5b-a0e1-4e76db633912" providerId="ADAL" clId="{B914494A-F278-4C75-B5BF-52D7B31E87BB}" dt="2022-12-17T11:40:49.928" v="2590"/>
            <ac:graphicFrameMkLst>
              <pc:docMk/>
              <pc:sldMasterMk cId="1978343168" sldId="2147483649"/>
              <pc:sldLayoutMk cId="1113847158" sldId="2147483650"/>
              <ac:graphicFrameMk id="3" creationId="{00000000-0000-0000-0000-000000000000}"/>
            </ac:graphicFrameMkLst>
          </pc:graphicFrameChg>
          <pc:picChg chg="add del">
            <ac:chgData name="Joan Viladomiu Tora" userId="769a1043-f370-4a5b-a0e1-4e76db633912" providerId="ADAL" clId="{B914494A-F278-4C75-B5BF-52D7B31E87BB}" dt="2022-12-06T15:51:42.831" v="148" actId="21"/>
            <ac:picMkLst>
              <pc:docMk/>
              <pc:sldMasterMk cId="1978343168" sldId="2147483649"/>
              <pc:sldLayoutMk cId="1113847158" sldId="2147483650"/>
              <ac:picMk id="8" creationId="{00000000-0000-0000-0000-000000000000}"/>
            </ac:picMkLst>
          </pc:picChg>
          <pc:picChg chg="del">
            <ac:chgData name="Joan Viladomiu Tora" userId="769a1043-f370-4a5b-a0e1-4e76db633912" providerId="ADAL" clId="{B914494A-F278-4C75-B5BF-52D7B31E87BB}" dt="2022-12-06T15:42:57.160" v="20" actId="478"/>
            <ac:picMkLst>
              <pc:docMk/>
              <pc:sldMasterMk cId="1978343168" sldId="2147483649"/>
              <pc:sldLayoutMk cId="1113847158" sldId="2147483650"/>
              <ac:picMk id="9" creationId="{1B270D81-0DC0-4C47-9B4F-D3B62B71F102}"/>
            </ac:picMkLst>
          </pc:picChg>
          <pc:picChg chg="mod">
            <ac:chgData name="Joan Viladomiu Tora" userId="769a1043-f370-4a5b-a0e1-4e76db633912" providerId="ADAL" clId="{B914494A-F278-4C75-B5BF-52D7B31E87BB}" dt="2022-12-17T12:07:24.279" v="2680" actId="14826"/>
            <ac:picMkLst>
              <pc:docMk/>
              <pc:sldMasterMk cId="1978343168" sldId="2147483649"/>
              <pc:sldLayoutMk cId="1113847158" sldId="2147483650"/>
              <ac:picMk id="10" creationId="{A4DB56B7-0027-440C-92B9-A720CB80E0E2}"/>
            </ac:picMkLst>
          </pc:picChg>
          <pc:picChg chg="del mod">
            <ac:chgData name="Joan Viladomiu Tora" userId="769a1043-f370-4a5b-a0e1-4e76db633912" providerId="ADAL" clId="{B914494A-F278-4C75-B5BF-52D7B31E87BB}" dt="2022-12-06T15:51:38.466" v="147" actId="478"/>
            <ac:picMkLst>
              <pc:docMk/>
              <pc:sldMasterMk cId="1978343168" sldId="2147483649"/>
              <pc:sldLayoutMk cId="1113847158" sldId="2147483650"/>
              <ac:picMk id="11" creationId="{51572186-B577-4C56-B68E-06079BC304E4}"/>
            </ac:picMkLst>
          </pc:picChg>
          <pc:picChg chg="add mod">
            <ac:chgData name="Joan Viladomiu Tora" userId="769a1043-f370-4a5b-a0e1-4e76db633912" providerId="ADAL" clId="{B914494A-F278-4C75-B5BF-52D7B31E87BB}" dt="2022-12-17T11:40:49.918" v="2588"/>
            <ac:picMkLst>
              <pc:docMk/>
              <pc:sldMasterMk cId="1978343168" sldId="2147483649"/>
              <pc:sldLayoutMk cId="1113847158" sldId="2147483650"/>
              <ac:picMk id="2050" creationId="{E0877128-CA57-411F-97C4-C2D3D9890069}"/>
            </ac:picMkLst>
          </pc:picChg>
        </pc:sldLayoutChg>
        <pc:sldLayoutChg chg="addSp delSp modSp mod">
          <pc:chgData name="Joan Viladomiu Tora" userId="769a1043-f370-4a5b-a0e1-4e76db633912" providerId="ADAL" clId="{B914494A-F278-4C75-B5BF-52D7B31E87BB}" dt="2022-12-17T12:07:48.793" v="2684" actId="554"/>
          <pc:sldLayoutMkLst>
            <pc:docMk/>
            <pc:sldMasterMk cId="1978343168" sldId="2147483649"/>
            <pc:sldLayoutMk cId="756179193" sldId="2147483651"/>
          </pc:sldLayoutMkLst>
          <pc:spChg chg="mod">
            <ac:chgData name="Joan Viladomiu Tora" userId="769a1043-f370-4a5b-a0e1-4e76db633912" providerId="ADAL" clId="{B914494A-F278-4C75-B5BF-52D7B31E87BB}" dt="2022-12-17T11:31:22.041" v="2270" actId="948"/>
            <ac:spMkLst>
              <pc:docMk/>
              <pc:sldMasterMk cId="1978343168" sldId="2147483649"/>
              <pc:sldLayoutMk cId="756179193" sldId="2147483651"/>
              <ac:spMk id="2" creationId="{A4848E9B-A199-41FE-BEBD-A47426624940}"/>
            </ac:spMkLst>
          </pc:spChg>
          <pc:spChg chg="del mod modVis">
            <ac:chgData name="Joan Viladomiu Tora" userId="769a1043-f370-4a5b-a0e1-4e76db633912" providerId="ADAL" clId="{B914494A-F278-4C75-B5BF-52D7B31E87BB}" dt="2022-12-17T11:31:16.770" v="1860" actId="478"/>
            <ac:spMkLst>
              <pc:docMk/>
              <pc:sldMasterMk cId="1978343168" sldId="2147483649"/>
              <pc:sldLayoutMk cId="756179193" sldId="2147483651"/>
              <ac:spMk id="3" creationId="{D961A5E3-F97A-46AC-B5FE-44C0E1D36019}"/>
            </ac:spMkLst>
          </pc:spChg>
          <pc:spChg chg="del mod">
            <ac:chgData name="Joan Viladomiu Tora" userId="769a1043-f370-4a5b-a0e1-4e76db633912" providerId="ADAL" clId="{B914494A-F278-4C75-B5BF-52D7B31E87BB}" dt="2022-12-06T15:54:10.345" v="190" actId="21"/>
            <ac:spMkLst>
              <pc:docMk/>
              <pc:sldMasterMk cId="1978343168" sldId="2147483649"/>
              <pc:sldLayoutMk cId="756179193" sldId="2147483651"/>
              <ac:spMk id="4" creationId="{11F40D28-1320-4187-8E8A-9F5056DD0673}"/>
            </ac:spMkLst>
          </pc:spChg>
          <pc:spChg chg="add del mod">
            <ac:chgData name="Joan Viladomiu Tora" userId="769a1043-f370-4a5b-a0e1-4e76db633912" providerId="ADAL" clId="{B914494A-F278-4C75-B5BF-52D7B31E87BB}" dt="2022-12-06T15:54:27.190" v="198" actId="478"/>
            <ac:spMkLst>
              <pc:docMk/>
              <pc:sldMasterMk cId="1978343168" sldId="2147483649"/>
              <pc:sldLayoutMk cId="756179193" sldId="2147483651"/>
              <ac:spMk id="6" creationId="{1FA902D8-3A43-454E-A982-AAF3CD7A4D9D}"/>
            </ac:spMkLst>
          </pc:spChg>
          <pc:spChg chg="del mod modVis">
            <ac:chgData name="Joan Viladomiu Tora" userId="769a1043-f370-4a5b-a0e1-4e76db633912" providerId="ADAL" clId="{B914494A-F278-4C75-B5BF-52D7B31E87BB}" dt="2022-12-17T11:31:19.681" v="2125" actId="478"/>
            <ac:spMkLst>
              <pc:docMk/>
              <pc:sldMasterMk cId="1978343168" sldId="2147483649"/>
              <pc:sldLayoutMk cId="756179193" sldId="2147483651"/>
              <ac:spMk id="6" creationId="{32DA3EB5-8075-4FD8-A31C-8CF26B179BBE}"/>
            </ac:spMkLst>
          </pc:spChg>
          <pc:spChg chg="add mod">
            <ac:chgData name="Joan Viladomiu Tora" userId="769a1043-f370-4a5b-a0e1-4e76db633912" providerId="ADAL" clId="{B914494A-F278-4C75-B5BF-52D7B31E87BB}" dt="2022-12-17T12:07:48.793" v="2684" actId="554"/>
            <ac:spMkLst>
              <pc:docMk/>
              <pc:sldMasterMk cId="1978343168" sldId="2147483649"/>
              <pc:sldLayoutMk cId="756179193" sldId="2147483651"/>
              <ac:spMk id="7" creationId="{636447BA-3D0E-436B-82B5-9AA041DEDFD5}"/>
            </ac:spMkLst>
          </pc:spChg>
          <pc:spChg chg="del mod modVis">
            <ac:chgData name="Joan Viladomiu Tora" userId="769a1043-f370-4a5b-a0e1-4e76db633912" providerId="ADAL" clId="{B914494A-F278-4C75-B5BF-52D7B31E87BB}" dt="2022-12-17T11:31:22.265" v="2384" actId="478"/>
            <ac:spMkLst>
              <pc:docMk/>
              <pc:sldMasterMk cId="1978343168" sldId="2147483649"/>
              <pc:sldLayoutMk cId="756179193" sldId="2147483651"/>
              <ac:spMk id="8" creationId="{732BA6C4-2035-4B40-8638-FA9E42ADDB3A}"/>
            </ac:spMkLst>
          </pc:spChg>
          <pc:graphicFrameChg chg="mod ord modVis">
            <ac:chgData name="Joan Viladomiu Tora" userId="769a1043-f370-4a5b-a0e1-4e76db633912" providerId="ADAL" clId="{B914494A-F278-4C75-B5BF-52D7B31E87BB}" dt="2022-12-17T11:31:22.270" v="2385" actId="1076"/>
            <ac:graphicFrameMkLst>
              <pc:docMk/>
              <pc:sldMasterMk cId="1978343168" sldId="2147483649"/>
              <pc:sldLayoutMk cId="756179193" sldId="2147483651"/>
              <ac:graphicFrameMk id="4" creationId="{EAB8D29B-AAE8-4B78-A18C-13C7A6CD4A8E}"/>
            </ac:graphicFrameMkLst>
          </pc:graphicFrameChg>
          <pc:picChg chg="del mod">
            <ac:chgData name="Joan Viladomiu Tora" userId="769a1043-f370-4a5b-a0e1-4e76db633912" providerId="ADAL" clId="{B914494A-F278-4C75-B5BF-52D7B31E87BB}" dt="2022-12-06T15:54:22.166" v="197" actId="478"/>
            <ac:picMkLst>
              <pc:docMk/>
              <pc:sldMasterMk cId="1978343168" sldId="2147483649"/>
              <pc:sldLayoutMk cId="756179193" sldId="2147483651"/>
              <ac:picMk id="3" creationId="{FB011CEE-1979-4952-AEEB-B537280F27AF}"/>
            </ac:picMkLst>
          </pc:picChg>
          <pc:picChg chg="add mod">
            <ac:chgData name="Joan Viladomiu Tora" userId="769a1043-f370-4a5b-a0e1-4e76db633912" providerId="ADAL" clId="{B914494A-F278-4C75-B5BF-52D7B31E87BB}" dt="2022-12-17T12:07:44.470" v="2682" actId="14826"/>
            <ac:picMkLst>
              <pc:docMk/>
              <pc:sldMasterMk cId="1978343168" sldId="2147483649"/>
              <pc:sldLayoutMk cId="756179193" sldId="2147483651"/>
              <ac:picMk id="5" creationId="{CA89127D-45CF-4E8B-ABBB-3ED13CB470F9}"/>
            </ac:picMkLst>
          </pc:picChg>
        </pc:sldLayoutChg>
        <pc:sldLayoutChg chg="addSp delSp modSp del mod ord">
          <pc:chgData name="Joan Viladomiu Tora" userId="769a1043-f370-4a5b-a0e1-4e76db633912" providerId="ADAL" clId="{B914494A-F278-4C75-B5BF-52D7B31E87BB}" dt="2022-12-17T11:49:55.380" v="2664" actId="2696"/>
          <pc:sldLayoutMkLst>
            <pc:docMk/>
            <pc:sldMasterMk cId="1978343168" sldId="2147483649"/>
            <pc:sldLayoutMk cId="2915679195" sldId="2147483652"/>
          </pc:sldLayoutMkLst>
          <pc:spChg chg="mod ord">
            <ac:chgData name="Joan Viladomiu Tora" userId="769a1043-f370-4a5b-a0e1-4e76db633912" providerId="ADAL" clId="{B914494A-F278-4C75-B5BF-52D7B31E87BB}" dt="2022-12-17T11:49:46.331" v="2652"/>
            <ac:spMkLst>
              <pc:docMk/>
              <pc:sldMasterMk cId="1978343168" sldId="2147483649"/>
              <pc:sldLayoutMk cId="2915679195" sldId="2147483652"/>
              <ac:spMk id="2" creationId="{00000000-0000-0000-0000-000000000000}"/>
            </ac:spMkLst>
          </pc:spChg>
          <pc:spChg chg="mod ord">
            <ac:chgData name="Joan Viladomiu Tora" userId="769a1043-f370-4a5b-a0e1-4e76db633912" providerId="ADAL" clId="{B914494A-F278-4C75-B5BF-52D7B31E87BB}" dt="2022-12-17T11:49:46.333" v="2654"/>
            <ac:spMkLst>
              <pc:docMk/>
              <pc:sldMasterMk cId="1978343168" sldId="2147483649"/>
              <pc:sldLayoutMk cId="2915679195" sldId="2147483652"/>
              <ac:spMk id="9" creationId="{00000000-0000-0000-0000-000000000000}"/>
            </ac:spMkLst>
          </pc:spChg>
          <pc:spChg chg="mod ord">
            <ac:chgData name="Joan Viladomiu Tora" userId="769a1043-f370-4a5b-a0e1-4e76db633912" providerId="ADAL" clId="{B914494A-F278-4C75-B5BF-52D7B31E87BB}" dt="2022-12-17T11:49:46.334" v="2656"/>
            <ac:spMkLst>
              <pc:docMk/>
              <pc:sldMasterMk cId="1978343168" sldId="2147483649"/>
              <pc:sldLayoutMk cId="2915679195" sldId="2147483652"/>
              <ac:spMk id="10" creationId="{00000000-0000-0000-0000-000000000000}"/>
            </ac:spMkLst>
          </pc:spChg>
          <pc:spChg chg="mod">
            <ac:chgData name="Joan Viladomiu Tora" userId="769a1043-f370-4a5b-a0e1-4e76db633912" providerId="ADAL" clId="{B914494A-F278-4C75-B5BF-52D7B31E87BB}" dt="2022-12-17T11:31:21.471" v="2206" actId="20577"/>
            <ac:spMkLst>
              <pc:docMk/>
              <pc:sldMasterMk cId="1978343168" sldId="2147483649"/>
              <pc:sldLayoutMk cId="2915679195" sldId="2147483652"/>
              <ac:spMk id="12" creationId="{0B526502-3601-496B-9984-5BE8EF6778D9}"/>
            </ac:spMkLst>
          </pc:spChg>
          <pc:spChg chg="mod ord">
            <ac:chgData name="Joan Viladomiu Tora" userId="769a1043-f370-4a5b-a0e1-4e76db633912" providerId="ADAL" clId="{B914494A-F278-4C75-B5BF-52D7B31E87BB}" dt="2022-12-17T11:49:46.337" v="2661"/>
            <ac:spMkLst>
              <pc:docMk/>
              <pc:sldMasterMk cId="1978343168" sldId="2147483649"/>
              <pc:sldLayoutMk cId="2915679195" sldId="2147483652"/>
              <ac:spMk id="13" creationId="{573A5861-F4C4-403D-86B2-F4E1BF39CC40}"/>
            </ac:spMkLst>
          </pc:spChg>
          <pc:spChg chg="mod">
            <ac:chgData name="Joan Viladomiu Tora" userId="769a1043-f370-4a5b-a0e1-4e76db633912" providerId="ADAL" clId="{B914494A-F278-4C75-B5BF-52D7B31E87BB}" dt="2022-12-17T11:31:21.464" v="2202" actId="20577"/>
            <ac:spMkLst>
              <pc:docMk/>
              <pc:sldMasterMk cId="1978343168" sldId="2147483649"/>
              <pc:sldLayoutMk cId="2915679195" sldId="2147483652"/>
              <ac:spMk id="14" creationId="{67A60BE9-FA34-4399-B6DF-89B2DC0639B0}"/>
            </ac:spMkLst>
          </pc:spChg>
          <pc:spChg chg="mod">
            <ac:chgData name="Joan Viladomiu Tora" userId="769a1043-f370-4a5b-a0e1-4e76db633912" providerId="ADAL" clId="{B914494A-F278-4C75-B5BF-52D7B31E87BB}" dt="2022-12-17T11:31:21.437" v="2187" actId="20577"/>
            <ac:spMkLst>
              <pc:docMk/>
              <pc:sldMasterMk cId="1978343168" sldId="2147483649"/>
              <pc:sldLayoutMk cId="2915679195" sldId="2147483652"/>
              <ac:spMk id="15" creationId="{A9FE3656-A23F-4F34-9A4F-911EBE461935}"/>
            </ac:spMkLst>
          </pc:spChg>
          <pc:spChg chg="mod">
            <ac:chgData name="Joan Viladomiu Tora" userId="769a1043-f370-4a5b-a0e1-4e76db633912" providerId="ADAL" clId="{B914494A-F278-4C75-B5BF-52D7B31E87BB}" dt="2022-12-17T11:31:21.433" v="2183" actId="20577"/>
            <ac:spMkLst>
              <pc:docMk/>
              <pc:sldMasterMk cId="1978343168" sldId="2147483649"/>
              <pc:sldLayoutMk cId="2915679195" sldId="2147483652"/>
              <ac:spMk id="17" creationId="{8227CB61-0DB5-470B-9423-B56D7B9CC025}"/>
            </ac:spMkLst>
          </pc:spChg>
          <pc:spChg chg="add del mod">
            <ac:chgData name="Joan Viladomiu Tora" userId="769a1043-f370-4a5b-a0e1-4e76db633912" providerId="ADAL" clId="{B914494A-F278-4C75-B5BF-52D7B31E87BB}" dt="2022-12-06T15:54:47.517" v="202" actId="478"/>
            <ac:spMkLst>
              <pc:docMk/>
              <pc:sldMasterMk cId="1978343168" sldId="2147483649"/>
              <pc:sldLayoutMk cId="2915679195" sldId="2147483652"/>
              <ac:spMk id="18" creationId="{37F39F50-1A67-4F6E-81EF-8DB739C2E65A}"/>
            </ac:spMkLst>
          </pc:spChg>
          <pc:grpChg chg="mod ord">
            <ac:chgData name="Joan Viladomiu Tora" userId="769a1043-f370-4a5b-a0e1-4e76db633912" providerId="ADAL" clId="{B914494A-F278-4C75-B5BF-52D7B31E87BB}" dt="2022-12-17T11:49:46.336" v="2658"/>
            <ac:grpSpMkLst>
              <pc:docMk/>
              <pc:sldMasterMk cId="1978343168" sldId="2147483649"/>
              <pc:sldLayoutMk cId="2915679195" sldId="2147483652"/>
              <ac:grpSpMk id="8" creationId="{ADD92295-8190-43B9-9069-C37E0B14F78C}"/>
            </ac:grpSpMkLst>
          </pc:grpChg>
          <pc:grpChg chg="add del mod ord">
            <ac:chgData name="Joan Viladomiu Tora" userId="769a1043-f370-4a5b-a0e1-4e76db633912" providerId="ADAL" clId="{B914494A-F278-4C75-B5BF-52D7B31E87BB}" dt="2022-12-17T11:49:46.329" v="2650"/>
            <ac:grpSpMkLst>
              <pc:docMk/>
              <pc:sldMasterMk cId="1978343168" sldId="2147483649"/>
              <pc:sldLayoutMk cId="2915679195" sldId="2147483652"/>
              <ac:grpSpMk id="11" creationId="{BE25770B-869C-44EA-A4A8-3C93DC844305}"/>
            </ac:grpSpMkLst>
          </pc:grpChg>
          <pc:graphicFrameChg chg="mod">
            <ac:chgData name="Joan Viladomiu Tora" userId="769a1043-f370-4a5b-a0e1-4e76db633912" providerId="ADAL" clId="{B914494A-F278-4C75-B5BF-52D7B31E87BB}" dt="2022-12-17T11:49:46.345" v="2663"/>
            <ac:graphicFrameMkLst>
              <pc:docMk/>
              <pc:sldMasterMk cId="1978343168" sldId="2147483649"/>
              <pc:sldLayoutMk cId="2915679195" sldId="2147483652"/>
              <ac:graphicFrameMk id="3" creationId="{00000000-0000-0000-0000-000000000000}"/>
            </ac:graphicFrameMkLst>
          </pc:graphicFrameChg>
          <pc:picChg chg="add mod">
            <ac:chgData name="Joan Viladomiu Tora" userId="769a1043-f370-4a5b-a0e1-4e76db633912" providerId="ADAL" clId="{B914494A-F278-4C75-B5BF-52D7B31E87BB}" dt="2022-12-17T11:49:46.336" v="2659"/>
            <ac:picMkLst>
              <pc:docMk/>
              <pc:sldMasterMk cId="1978343168" sldId="2147483649"/>
              <pc:sldLayoutMk cId="2915679195" sldId="2147483652"/>
              <ac:picMk id="16" creationId="{40B9891E-ED05-4D89-8BB1-385647C1FE90}"/>
            </ac:picMkLst>
          </pc:picChg>
          <pc:picChg chg="del">
            <ac:chgData name="Joan Viladomiu Tora" userId="769a1043-f370-4a5b-a0e1-4e76db633912" providerId="ADAL" clId="{B914494A-F278-4C75-B5BF-52D7B31E87BB}" dt="2022-12-06T15:55:13.455" v="207" actId="478"/>
            <ac:picMkLst>
              <pc:docMk/>
              <pc:sldMasterMk cId="1978343168" sldId="2147483649"/>
              <pc:sldLayoutMk cId="2915679195" sldId="2147483652"/>
              <ac:picMk id="16" creationId="{E4716884-5C2E-4D9D-A756-52725541DA63}"/>
            </ac:picMkLst>
          </pc:picChg>
          <pc:picChg chg="add del mod">
            <ac:chgData name="Joan Viladomiu Tora" userId="769a1043-f370-4a5b-a0e1-4e76db633912" providerId="ADAL" clId="{B914494A-F278-4C75-B5BF-52D7B31E87BB}" dt="2022-12-06T15:55:12.206" v="206" actId="21"/>
            <ac:picMkLst>
              <pc:docMk/>
              <pc:sldMasterMk cId="1978343168" sldId="2147483649"/>
              <pc:sldLayoutMk cId="2915679195" sldId="2147483652"/>
              <ac:picMk id="19" creationId="{110FC0BC-FF65-45D7-9BF5-DDB4AD027152}"/>
            </ac:picMkLst>
          </pc:picChg>
          <pc:picChg chg="add del mod">
            <ac:chgData name="Joan Viladomiu Tora" userId="769a1043-f370-4a5b-a0e1-4e76db633912" providerId="ADAL" clId="{B914494A-F278-4C75-B5BF-52D7B31E87BB}" dt="2022-12-17T11:49:30.860" v="2645" actId="478"/>
            <ac:picMkLst>
              <pc:docMk/>
              <pc:sldMasterMk cId="1978343168" sldId="2147483649"/>
              <pc:sldLayoutMk cId="2915679195" sldId="2147483652"/>
              <ac:picMk id="20" creationId="{73E45BD7-1239-4D1E-92B2-1C48ED6A5AA7}"/>
            </ac:picMkLst>
          </pc:picChg>
        </pc:sldLayoutChg>
        <pc:sldLayoutChg chg="addSp delSp modSp mod ord">
          <pc:chgData name="Joan Viladomiu Tora" userId="769a1043-f370-4a5b-a0e1-4e76db633912" providerId="ADAL" clId="{B914494A-F278-4C75-B5BF-52D7B31E87BB}" dt="2022-12-17T12:22:40.122" v="3026" actId="478"/>
          <pc:sldLayoutMkLst>
            <pc:docMk/>
            <pc:sldMasterMk cId="1978343168" sldId="2147483649"/>
            <pc:sldLayoutMk cId="831434699" sldId="2147483653"/>
          </pc:sldLayoutMkLst>
          <pc:spChg chg="mod">
            <ac:chgData name="Joan Viladomiu Tora" userId="769a1043-f370-4a5b-a0e1-4e76db633912" providerId="ADAL" clId="{B914494A-F278-4C75-B5BF-52D7B31E87BB}" dt="2022-12-17T11:31:22.029" v="2269" actId="948"/>
            <ac:spMkLst>
              <pc:docMk/>
              <pc:sldMasterMk cId="1978343168" sldId="2147483649"/>
              <pc:sldLayoutMk cId="831434699" sldId="2147483653"/>
              <ac:spMk id="2" creationId="{00000000-0000-0000-0000-000000000000}"/>
            </ac:spMkLst>
          </pc:spChg>
          <pc:spChg chg="add del mod">
            <ac:chgData name="Joan Viladomiu Tora" userId="769a1043-f370-4a5b-a0e1-4e76db633912" providerId="ADAL" clId="{B914494A-F278-4C75-B5BF-52D7B31E87BB}" dt="2022-12-17T12:22:40.122" v="3026" actId="478"/>
            <ac:spMkLst>
              <pc:docMk/>
              <pc:sldMasterMk cId="1978343168" sldId="2147483649"/>
              <pc:sldLayoutMk cId="831434699" sldId="2147483653"/>
              <ac:spMk id="6" creationId="{95881EA5-8C02-4A57-950A-A359DD8858A5}"/>
            </ac:spMkLst>
          </pc:spChg>
          <pc:spChg chg="del mod">
            <ac:chgData name="Joan Viladomiu Tora" userId="769a1043-f370-4a5b-a0e1-4e76db633912" providerId="ADAL" clId="{B914494A-F278-4C75-B5BF-52D7B31E87BB}" dt="2022-12-17T12:22:35.788" v="3024" actId="478"/>
            <ac:spMkLst>
              <pc:docMk/>
              <pc:sldMasterMk cId="1978343168" sldId="2147483649"/>
              <pc:sldLayoutMk cId="831434699" sldId="2147483653"/>
              <ac:spMk id="7" creationId="{00000000-0000-0000-0000-000000000000}"/>
            </ac:spMkLst>
          </pc:spChg>
          <pc:spChg chg="del mod">
            <ac:chgData name="Joan Viladomiu Tora" userId="769a1043-f370-4a5b-a0e1-4e76db633912" providerId="ADAL" clId="{B914494A-F278-4C75-B5BF-52D7B31E87BB}" dt="2022-12-17T12:08:05.148" v="2686" actId="478"/>
            <ac:spMkLst>
              <pc:docMk/>
              <pc:sldMasterMk cId="1978343168" sldId="2147483649"/>
              <pc:sldLayoutMk cId="831434699" sldId="2147483653"/>
              <ac:spMk id="8" creationId="{00000000-0000-0000-0000-000000000000}"/>
            </ac:spMkLst>
          </pc:spChg>
          <pc:graphicFrameChg chg="mod">
            <ac:chgData name="Joan Viladomiu Tora" userId="769a1043-f370-4a5b-a0e1-4e76db633912" providerId="ADAL" clId="{B914494A-F278-4C75-B5BF-52D7B31E87BB}" dt="2022-12-17T11:31:22.255" v="2381" actId="1076"/>
            <ac:graphicFrameMkLst>
              <pc:docMk/>
              <pc:sldMasterMk cId="1978343168" sldId="2147483649"/>
              <pc:sldLayoutMk cId="831434699" sldId="2147483653"/>
              <ac:graphicFrameMk id="4" creationId="{00000000-0000-0000-0000-000000000000}"/>
            </ac:graphicFrameMkLst>
          </pc:graphicFrameChg>
        </pc:sldLayoutChg>
        <pc:sldLayoutChg chg="del">
          <pc:chgData name="Joan Viladomiu Tora" userId="769a1043-f370-4a5b-a0e1-4e76db633912" providerId="ADAL" clId="{B914494A-F278-4C75-B5BF-52D7B31E87BB}" dt="2022-12-06T15:46:59.614" v="135" actId="2696"/>
          <pc:sldLayoutMkLst>
            <pc:docMk/>
            <pc:sldMasterMk cId="1978343168" sldId="2147483649"/>
            <pc:sldLayoutMk cId="1571064595" sldId="2147483654"/>
          </pc:sldLayoutMkLst>
        </pc:sldLayoutChg>
        <pc:sldLayoutChg chg="addSp delSp modSp add mod modTransition">
          <pc:chgData name="Joan Viladomiu Tora" userId="769a1043-f370-4a5b-a0e1-4e76db633912" providerId="ADAL" clId="{B914494A-F278-4C75-B5BF-52D7B31E87BB}" dt="2022-12-17T15:11:53.345" v="5347" actId="207"/>
          <pc:sldLayoutMkLst>
            <pc:docMk/>
            <pc:sldMasterMk cId="1978343168" sldId="2147483649"/>
            <pc:sldLayoutMk cId="3968329801" sldId="2147483654"/>
          </pc:sldLayoutMkLst>
          <pc:spChg chg="mod">
            <ac:chgData name="Joan Viladomiu Tora" userId="769a1043-f370-4a5b-a0e1-4e76db633912" providerId="ADAL" clId="{B914494A-F278-4C75-B5BF-52D7B31E87BB}" dt="2022-12-17T14:47:36.642" v="4822"/>
            <ac:spMkLst>
              <pc:docMk/>
              <pc:sldMasterMk cId="1978343168" sldId="2147483649"/>
              <pc:sldLayoutMk cId="3968329801" sldId="2147483654"/>
              <ac:spMk id="4" creationId="{00000000-0000-0000-0000-000000000000}"/>
            </ac:spMkLst>
          </pc:spChg>
          <pc:spChg chg="add mod">
            <ac:chgData name="Joan Viladomiu Tora" userId="769a1043-f370-4a5b-a0e1-4e76db633912" providerId="ADAL" clId="{B914494A-F278-4C75-B5BF-52D7B31E87BB}" dt="2022-12-17T15:11:53.345" v="5347" actId="207"/>
            <ac:spMkLst>
              <pc:docMk/>
              <pc:sldMasterMk cId="1978343168" sldId="2147483649"/>
              <pc:sldLayoutMk cId="3968329801" sldId="2147483654"/>
              <ac:spMk id="7" creationId="{B8E35327-C921-485D-82BD-92C24B69BB01}"/>
            </ac:spMkLst>
          </pc:spChg>
          <pc:spChg chg="del mod">
            <ac:chgData name="Joan Viladomiu Tora" userId="769a1043-f370-4a5b-a0e1-4e76db633912" providerId="ADAL" clId="{B914494A-F278-4C75-B5BF-52D7B31E87BB}" dt="2022-12-17T14:47:40.134" v="4823" actId="478"/>
            <ac:spMkLst>
              <pc:docMk/>
              <pc:sldMasterMk cId="1978343168" sldId="2147483649"/>
              <pc:sldLayoutMk cId="3968329801" sldId="2147483654"/>
              <ac:spMk id="12" creationId="{6832A1B3-079F-4E4B-AE45-5BB57C425A1E}"/>
            </ac:spMkLst>
          </pc:spChg>
          <pc:grpChg chg="mod">
            <ac:chgData name="Joan Viladomiu Tora" userId="769a1043-f370-4a5b-a0e1-4e76db633912" providerId="ADAL" clId="{B914494A-F278-4C75-B5BF-52D7B31E87BB}" dt="2022-12-17T14:47:36.642" v="4822"/>
            <ac:grpSpMkLst>
              <pc:docMk/>
              <pc:sldMasterMk cId="1978343168" sldId="2147483649"/>
              <pc:sldLayoutMk cId="3968329801" sldId="2147483654"/>
              <ac:grpSpMk id="1" creationId="{00000000-0000-0000-0000-000000000000}"/>
            </ac:grpSpMkLst>
          </pc:grpChg>
          <pc:graphicFrameChg chg="mod">
            <ac:chgData name="Joan Viladomiu Tora" userId="769a1043-f370-4a5b-a0e1-4e76db633912" providerId="ADAL" clId="{B914494A-F278-4C75-B5BF-52D7B31E87BB}" dt="2022-12-17T14:47:36.642" v="4822"/>
            <ac:graphicFrameMkLst>
              <pc:docMk/>
              <pc:sldMasterMk cId="1978343168" sldId="2147483649"/>
              <pc:sldLayoutMk cId="3968329801" sldId="2147483654"/>
              <ac:graphicFrameMk id="3" creationId="{00000000-0000-0000-0000-000000000000}"/>
            </ac:graphicFrameMkLst>
          </pc:graphicFrameChg>
          <pc:picChg chg="mod">
            <ac:chgData name="Joan Viladomiu Tora" userId="769a1043-f370-4a5b-a0e1-4e76db633912" providerId="ADAL" clId="{B914494A-F278-4C75-B5BF-52D7B31E87BB}" dt="2022-12-17T14:47:36.642" v="4822"/>
            <ac:picMkLst>
              <pc:docMk/>
              <pc:sldMasterMk cId="1978343168" sldId="2147483649"/>
              <pc:sldLayoutMk cId="3968329801" sldId="2147483654"/>
              <ac:picMk id="10" creationId="{A4DB56B7-0027-440C-92B9-A720CB80E0E2}"/>
            </ac:picMkLst>
          </pc:picChg>
          <pc:picChg chg="mod">
            <ac:chgData name="Joan Viladomiu Tora" userId="769a1043-f370-4a5b-a0e1-4e76db633912" providerId="ADAL" clId="{B914494A-F278-4C75-B5BF-52D7B31E87BB}" dt="2022-12-17T14:47:36.642" v="4822"/>
            <ac:picMkLst>
              <pc:docMk/>
              <pc:sldMasterMk cId="1978343168" sldId="2147483649"/>
              <pc:sldLayoutMk cId="3968329801" sldId="2147483654"/>
              <ac:picMk id="2050" creationId="{E0877128-CA57-411F-97C4-C2D3D9890069}"/>
            </ac:picMkLst>
          </pc:picChg>
        </pc:sldLayoutChg>
        <pc:sldLayoutChg chg="del">
          <pc:chgData name="Joan Viladomiu Tora" userId="769a1043-f370-4a5b-a0e1-4e76db633912" providerId="ADAL" clId="{B914494A-F278-4C75-B5BF-52D7B31E87BB}" dt="2022-12-06T15:47:02.176" v="136" actId="2696"/>
          <pc:sldLayoutMkLst>
            <pc:docMk/>
            <pc:sldMasterMk cId="1978343168" sldId="2147483649"/>
            <pc:sldLayoutMk cId="3234365045" sldId="2147483655"/>
          </pc:sldLayoutMkLst>
        </pc:sldLayoutChg>
        <pc:sldLayoutChg chg="addSp delSp modSp add mod modTransition">
          <pc:chgData name="Joan Viladomiu Tora" userId="769a1043-f370-4a5b-a0e1-4e76db633912" providerId="ADAL" clId="{B914494A-F278-4C75-B5BF-52D7B31E87BB}" dt="2022-12-17T14:56:47.648" v="4965" actId="478"/>
          <pc:sldLayoutMkLst>
            <pc:docMk/>
            <pc:sldMasterMk cId="1978343168" sldId="2147483649"/>
            <pc:sldLayoutMk cId="3581930832" sldId="2147483655"/>
          </pc:sldLayoutMkLst>
          <pc:spChg chg="mod">
            <ac:chgData name="Joan Viladomiu Tora" userId="769a1043-f370-4a5b-a0e1-4e76db633912" providerId="ADAL" clId="{B914494A-F278-4C75-B5BF-52D7B31E87BB}" dt="2022-12-17T14:54:49.910" v="4947"/>
            <ac:spMkLst>
              <pc:docMk/>
              <pc:sldMasterMk cId="1978343168" sldId="2147483649"/>
              <pc:sldLayoutMk cId="3581930832" sldId="2147483655"/>
              <ac:spMk id="4" creationId="{00000000-0000-0000-0000-000000000000}"/>
            </ac:spMkLst>
          </pc:spChg>
          <pc:spChg chg="del mod">
            <ac:chgData name="Joan Viladomiu Tora" userId="769a1043-f370-4a5b-a0e1-4e76db633912" providerId="ADAL" clId="{B914494A-F278-4C75-B5BF-52D7B31E87BB}" dt="2022-12-17T14:54:55.342" v="4948" actId="478"/>
            <ac:spMkLst>
              <pc:docMk/>
              <pc:sldMasterMk cId="1978343168" sldId="2147483649"/>
              <pc:sldLayoutMk cId="3581930832" sldId="2147483655"/>
              <ac:spMk id="7" creationId="{B8E35327-C921-485D-82BD-92C24B69BB01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8" creationId="{A47C3532-0C33-40A3-AA3E-621FEC40A082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9" creationId="{59975F23-BC77-4DAD-9EB0-07347DEBF9D8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1" creationId="{53FB9CF4-8C28-42E3-A02A-28078F59A573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2" creationId="{B8E505B5-FDA8-4C80-9F05-D461201A3AD8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3" creationId="{D51F87FC-E10C-4815-A24F-B2527BCFD5AE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4" creationId="{90FD1BAD-F46B-402C-8325-25565AFC6B94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5" creationId="{A40E6756-52C3-49FD-A640-2940299282F2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6" creationId="{48892D8C-2338-4BAB-B3D9-C446D6EFF3FE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7" creationId="{F2BBEFB2-07A9-4C6D-8DB7-A87A082F1ECD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8" creationId="{D154134B-297D-4EFD-8786-2DAA00AF9E4E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19" creationId="{2F898F5B-B46A-4391-A6B8-D72F0576EEC2}"/>
            </ac:spMkLst>
          </pc:spChg>
          <pc:spChg chg="add del mod">
            <ac:chgData name="Joan Viladomiu Tora" userId="769a1043-f370-4a5b-a0e1-4e76db633912" providerId="ADAL" clId="{B914494A-F278-4C75-B5BF-52D7B31E87BB}" dt="2022-12-17T14:55:39.148" v="4953"/>
            <ac:spMkLst>
              <pc:docMk/>
              <pc:sldMasterMk cId="1978343168" sldId="2147483649"/>
              <pc:sldLayoutMk cId="3581930832" sldId="2147483655"/>
              <ac:spMk id="20" creationId="{E0FCA207-9D6C-49FF-8E24-F858DB55B7B6}"/>
            </ac:spMkLst>
          </pc:spChg>
          <pc:grpChg chg="mod">
            <ac:chgData name="Joan Viladomiu Tora" userId="769a1043-f370-4a5b-a0e1-4e76db633912" providerId="ADAL" clId="{B914494A-F278-4C75-B5BF-52D7B31E87BB}" dt="2022-12-17T14:54:49.910" v="4947"/>
            <ac:grpSpMkLst>
              <pc:docMk/>
              <pc:sldMasterMk cId="1978343168" sldId="2147483649"/>
              <pc:sldLayoutMk cId="3581930832" sldId="2147483655"/>
              <ac:grpSpMk id="1" creationId="{00000000-0000-0000-0000-000000000000}"/>
            </ac:grpSpMkLst>
          </pc:grpChg>
          <pc:graphicFrameChg chg="mod">
            <ac:chgData name="Joan Viladomiu Tora" userId="769a1043-f370-4a5b-a0e1-4e76db633912" providerId="ADAL" clId="{B914494A-F278-4C75-B5BF-52D7B31E87BB}" dt="2022-12-17T14:54:49.910" v="4947"/>
            <ac:graphicFrameMkLst>
              <pc:docMk/>
              <pc:sldMasterMk cId="1978343168" sldId="2147483649"/>
              <pc:sldLayoutMk cId="3581930832" sldId="2147483655"/>
              <ac:graphicFrameMk id="3" creationId="{00000000-0000-0000-0000-000000000000}"/>
            </ac:graphicFrameMkLst>
          </pc:graphicFrameChg>
          <pc:picChg chg="mod">
            <ac:chgData name="Joan Viladomiu Tora" userId="769a1043-f370-4a5b-a0e1-4e76db633912" providerId="ADAL" clId="{B914494A-F278-4C75-B5BF-52D7B31E87BB}" dt="2022-12-17T14:54:49.910" v="4947"/>
            <ac:picMkLst>
              <pc:docMk/>
              <pc:sldMasterMk cId="1978343168" sldId="2147483649"/>
              <pc:sldLayoutMk cId="3581930832" sldId="2147483655"/>
              <ac:picMk id="10" creationId="{A4DB56B7-0027-440C-92B9-A720CB80E0E2}"/>
            </ac:picMkLst>
          </pc:picChg>
          <pc:picChg chg="del mod">
            <ac:chgData name="Joan Viladomiu Tora" userId="769a1043-f370-4a5b-a0e1-4e76db633912" providerId="ADAL" clId="{B914494A-F278-4C75-B5BF-52D7B31E87BB}" dt="2022-12-17T14:55:19.057" v="4951" actId="478"/>
            <ac:picMkLst>
              <pc:docMk/>
              <pc:sldMasterMk cId="1978343168" sldId="2147483649"/>
              <pc:sldLayoutMk cId="3581930832" sldId="2147483655"/>
              <ac:picMk id="2050" creationId="{E0877128-CA57-411F-97C4-C2D3D9890069}"/>
            </ac:picMkLst>
          </pc:picChg>
          <pc:cxnChg chg="add mod">
            <ac:chgData name="Joan Viladomiu Tora" userId="769a1043-f370-4a5b-a0e1-4e76db633912" providerId="ADAL" clId="{B914494A-F278-4C75-B5BF-52D7B31E87BB}" dt="2022-12-17T14:56:40.374" v="4964" actId="1582"/>
            <ac:cxnSpMkLst>
              <pc:docMk/>
              <pc:sldMasterMk cId="1978343168" sldId="2147483649"/>
              <pc:sldLayoutMk cId="3581930832" sldId="2147483655"/>
              <ac:cxnSpMk id="21" creationId="{EC020AFF-3723-4623-BCE4-3245D74B3DBC}"/>
            </ac:cxnSpMkLst>
          </pc:cxnChg>
          <pc:cxnChg chg="add del mod">
            <ac:chgData name="Joan Viladomiu Tora" userId="769a1043-f370-4a5b-a0e1-4e76db633912" providerId="ADAL" clId="{B914494A-F278-4C75-B5BF-52D7B31E87BB}" dt="2022-12-17T14:56:47.648" v="4965" actId="478"/>
            <ac:cxnSpMkLst>
              <pc:docMk/>
              <pc:sldMasterMk cId="1978343168" sldId="2147483649"/>
              <pc:sldLayoutMk cId="3581930832" sldId="2147483655"/>
              <ac:cxnSpMk id="22" creationId="{FDA34389-6277-4433-AB98-AEB995CD1F73}"/>
            </ac:cxnSpMkLst>
          </pc:cxnChg>
          <pc:cxnChg chg="add del mod">
            <ac:chgData name="Joan Viladomiu Tora" userId="769a1043-f370-4a5b-a0e1-4e76db633912" providerId="ADAL" clId="{B914494A-F278-4C75-B5BF-52D7B31E87BB}" dt="2022-12-17T14:56:47.648" v="4965" actId="478"/>
            <ac:cxnSpMkLst>
              <pc:docMk/>
              <pc:sldMasterMk cId="1978343168" sldId="2147483649"/>
              <pc:sldLayoutMk cId="3581930832" sldId="2147483655"/>
              <ac:cxnSpMk id="23" creationId="{BB5D6C1F-E2DD-4D4E-B87F-49BEDD043B8D}"/>
            </ac:cxnSpMkLst>
          </pc:cxnChg>
          <pc:cxnChg chg="add mod">
            <ac:chgData name="Joan Viladomiu Tora" userId="769a1043-f370-4a5b-a0e1-4e76db633912" providerId="ADAL" clId="{B914494A-F278-4C75-B5BF-52D7B31E87BB}" dt="2022-12-17T14:56:40.374" v="4964" actId="1582"/>
            <ac:cxnSpMkLst>
              <pc:docMk/>
              <pc:sldMasterMk cId="1978343168" sldId="2147483649"/>
              <pc:sldLayoutMk cId="3581930832" sldId="2147483655"/>
              <ac:cxnSpMk id="24" creationId="{36182F83-12F4-464A-9B7A-9963E87CCFE5}"/>
            </ac:cxnSpMkLst>
          </pc:cxnChg>
          <pc:cxnChg chg="add mod">
            <ac:chgData name="Joan Viladomiu Tora" userId="769a1043-f370-4a5b-a0e1-4e76db633912" providerId="ADAL" clId="{B914494A-F278-4C75-B5BF-52D7B31E87BB}" dt="2022-12-17T14:56:40.374" v="4964" actId="1582"/>
            <ac:cxnSpMkLst>
              <pc:docMk/>
              <pc:sldMasterMk cId="1978343168" sldId="2147483649"/>
              <pc:sldLayoutMk cId="3581930832" sldId="2147483655"/>
              <ac:cxnSpMk id="25" creationId="{4944F810-4F85-4694-BD64-19DE62C356B7}"/>
            </ac:cxnSpMkLst>
          </pc:cxnChg>
          <pc:cxnChg chg="add mod">
            <ac:chgData name="Joan Viladomiu Tora" userId="769a1043-f370-4a5b-a0e1-4e76db633912" providerId="ADAL" clId="{B914494A-F278-4C75-B5BF-52D7B31E87BB}" dt="2022-12-17T14:56:40.374" v="4964" actId="1582"/>
            <ac:cxnSpMkLst>
              <pc:docMk/>
              <pc:sldMasterMk cId="1978343168" sldId="2147483649"/>
              <pc:sldLayoutMk cId="3581930832" sldId="2147483655"/>
              <ac:cxnSpMk id="26" creationId="{4F8FBE88-A941-4C5E-9AC5-F6501A3E3243}"/>
            </ac:cxnSpMkLst>
          </pc:cxnChg>
        </pc:sldLayoutChg>
        <pc:sldLayoutChg chg="del">
          <pc:chgData name="Joan Viladomiu Tora" userId="769a1043-f370-4a5b-a0e1-4e76db633912" providerId="ADAL" clId="{B914494A-F278-4C75-B5BF-52D7B31E87BB}" dt="2022-12-06T15:47:03.612" v="137" actId="2696"/>
          <pc:sldLayoutMkLst>
            <pc:docMk/>
            <pc:sldMasterMk cId="1978343168" sldId="2147483649"/>
            <pc:sldLayoutMk cId="2283896565" sldId="2147483656"/>
          </pc:sldLayoutMkLst>
        </pc:sldLayoutChg>
        <pc:sldLayoutChg chg="addSp delSp modSp del mod">
          <pc:chgData name="Joan Viladomiu Tora" userId="769a1043-f370-4a5b-a0e1-4e76db633912" providerId="ADAL" clId="{B914494A-F278-4C75-B5BF-52D7B31E87BB}" dt="2022-12-17T11:49:55.442" v="2665" actId="2696"/>
          <pc:sldLayoutMkLst>
            <pc:docMk/>
            <pc:sldMasterMk cId="1978343168" sldId="2147483649"/>
            <pc:sldLayoutMk cId="1068072590" sldId="2147483657"/>
          </pc:sldLayoutMkLst>
          <pc:spChg chg="mod ord">
            <ac:chgData name="Joan Viladomiu Tora" userId="769a1043-f370-4a5b-a0e1-4e76db633912" providerId="ADAL" clId="{B914494A-F278-4C75-B5BF-52D7B31E87BB}" dt="2022-12-17T11:31:21.497" v="2223" actId="20577"/>
            <ac:spMkLst>
              <pc:docMk/>
              <pc:sldMasterMk cId="1978343168" sldId="2147483649"/>
              <pc:sldLayoutMk cId="1068072590" sldId="2147483657"/>
              <ac:spMk id="4" creationId="{00000000-0000-0000-0000-000000000000}"/>
            </ac:spMkLst>
          </pc:spChg>
          <pc:spChg chg="mod ord">
            <ac:chgData name="Joan Viladomiu Tora" userId="769a1043-f370-4a5b-a0e1-4e76db633912" providerId="ADAL" clId="{B914494A-F278-4C75-B5BF-52D7B31E87BB}" dt="2022-12-17T11:31:21.492" v="2219" actId="20577"/>
            <ac:spMkLst>
              <pc:docMk/>
              <pc:sldMasterMk cId="1978343168" sldId="2147483649"/>
              <pc:sldLayoutMk cId="1068072590" sldId="2147483657"/>
              <ac:spMk id="5" creationId="{00000000-0000-0000-0000-000000000000}"/>
            </ac:spMkLst>
          </pc:spChg>
          <pc:spChg chg="mod ord">
            <ac:chgData name="Joan Viladomiu Tora" userId="769a1043-f370-4a5b-a0e1-4e76db633912" providerId="ADAL" clId="{B914494A-F278-4C75-B5BF-52D7B31E87BB}" dt="2022-12-17T11:31:21.504" v="2227" actId="20577"/>
            <ac:spMkLst>
              <pc:docMk/>
              <pc:sldMasterMk cId="1978343168" sldId="2147483649"/>
              <pc:sldLayoutMk cId="1068072590" sldId="2147483657"/>
              <ac:spMk id="9" creationId="{DE5D39BD-D4A2-44BE-8F3C-44AFBC730FD0}"/>
            </ac:spMkLst>
          </pc:spChg>
          <pc:spChg chg="del">
            <ac:chgData name="Joan Viladomiu Tora" userId="769a1043-f370-4a5b-a0e1-4e76db633912" providerId="ADAL" clId="{B914494A-F278-4C75-B5BF-52D7B31E87BB}" dt="2022-12-06T15:47:18.269" v="138" actId="478"/>
            <ac:spMkLst>
              <pc:docMk/>
              <pc:sldMasterMk cId="1978343168" sldId="2147483649"/>
              <pc:sldLayoutMk cId="1068072590" sldId="2147483657"/>
              <ac:spMk id="11" creationId="{370958E0-284F-4838-B02E-50EDD2F9A6E5}"/>
            </ac:spMkLst>
          </pc:spChg>
          <pc:graphicFrameChg chg="mod">
            <ac:chgData name="Joan Viladomiu Tora" userId="769a1043-f370-4a5b-a0e1-4e76db633912" providerId="ADAL" clId="{B914494A-F278-4C75-B5BF-52D7B31E87BB}" dt="2022-12-17T11:31:22.278" v="2387" actId="1076"/>
            <ac:graphicFrameMkLst>
              <pc:docMk/>
              <pc:sldMasterMk cId="1978343168" sldId="2147483649"/>
              <pc:sldLayoutMk cId="1068072590" sldId="2147483657"/>
              <ac:graphicFrameMk id="3" creationId="{00000000-0000-0000-0000-000000000000}"/>
            </ac:graphicFrameMkLst>
          </pc:graphicFrameChg>
          <pc:picChg chg="add del mod">
            <ac:chgData name="Joan Viladomiu Tora" userId="769a1043-f370-4a5b-a0e1-4e76db633912" providerId="ADAL" clId="{B914494A-F278-4C75-B5BF-52D7B31E87BB}" dt="2022-12-06T15:56:46.813" v="274" actId="21"/>
            <ac:picMkLst>
              <pc:docMk/>
              <pc:sldMasterMk cId="1978343168" sldId="2147483649"/>
              <pc:sldLayoutMk cId="1068072590" sldId="2147483657"/>
              <ac:picMk id="8" creationId="{7F236492-24F2-43CB-9202-C98C6F71BCC3}"/>
            </ac:picMkLst>
          </pc:picChg>
          <pc:picChg chg="del">
            <ac:chgData name="Joan Viladomiu Tora" userId="769a1043-f370-4a5b-a0e1-4e76db633912" providerId="ADAL" clId="{B914494A-F278-4C75-B5BF-52D7B31E87BB}" dt="2022-12-06T15:56:49.613" v="276" actId="478"/>
            <ac:picMkLst>
              <pc:docMk/>
              <pc:sldMasterMk cId="1978343168" sldId="2147483649"/>
              <pc:sldLayoutMk cId="1068072590" sldId="2147483657"/>
              <ac:picMk id="10" creationId="{9DBDA930-65E9-4F06-999D-CAAF09359D74}"/>
            </ac:picMkLst>
          </pc:picChg>
          <pc:picChg chg="add mod">
            <ac:chgData name="Joan Viladomiu Tora" userId="769a1043-f370-4a5b-a0e1-4e76db633912" providerId="ADAL" clId="{B914494A-F278-4C75-B5BF-52D7B31E87BB}" dt="2022-12-06T15:57:01.679" v="291"/>
            <ac:picMkLst>
              <pc:docMk/>
              <pc:sldMasterMk cId="1978343168" sldId="2147483649"/>
              <pc:sldLayoutMk cId="1068072590" sldId="2147483657"/>
              <ac:picMk id="12" creationId="{63A2A6F6-768D-48D7-ACA7-934E348778CB}"/>
            </ac:picMkLst>
          </pc:picChg>
        </pc:sldLayoutChg>
        <pc:sldLayoutChg chg="del">
          <pc:chgData name="Joan Viladomiu Tora" userId="769a1043-f370-4a5b-a0e1-4e76db633912" providerId="ADAL" clId="{B914494A-F278-4C75-B5BF-52D7B31E87BB}" dt="2022-12-06T15:46:08.365" v="122" actId="2696"/>
          <pc:sldLayoutMkLst>
            <pc:docMk/>
            <pc:sldMasterMk cId="1978343168" sldId="2147483649"/>
            <pc:sldLayoutMk cId="3324051926" sldId="2147483658"/>
          </pc:sldLayoutMkLst>
        </pc:sldLayoutChg>
        <pc:sldLayoutChg chg="del">
          <pc:chgData name="Joan Viladomiu Tora" userId="769a1043-f370-4a5b-a0e1-4e76db633912" providerId="ADAL" clId="{B914494A-F278-4C75-B5BF-52D7B31E87BB}" dt="2022-12-06T15:47:25.956" v="139" actId="2696"/>
          <pc:sldLayoutMkLst>
            <pc:docMk/>
            <pc:sldMasterMk cId="1978343168" sldId="2147483649"/>
            <pc:sldLayoutMk cId="1121257721" sldId="2147483659"/>
          </pc:sldLayoutMkLst>
        </pc:sldLayoutChg>
        <pc:sldLayoutChg chg="del">
          <pc:chgData name="Joan Viladomiu Tora" userId="769a1043-f370-4a5b-a0e1-4e76db633912" providerId="ADAL" clId="{B914494A-F278-4C75-B5BF-52D7B31E87BB}" dt="2022-12-06T15:46:08.334" v="121" actId="2696"/>
          <pc:sldLayoutMkLst>
            <pc:docMk/>
            <pc:sldMasterMk cId="1978343168" sldId="2147483649"/>
            <pc:sldLayoutMk cId="2005061274" sldId="214748366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s-E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6E98240-72B9-44CD-9D8E-C4051C031B06}" type="datetimeFigureOut">
              <a:rPr lang="es-ES" smtClean="0"/>
              <a:pPr/>
              <a:t>22/12/2022</a:t>
            </a:fld>
            <a:endParaRPr lang="es-E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CEB997CD-9192-4BE3-9CF3-0DACF4EFDCD2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8380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B997CD-9192-4BE3-9CF3-0DACF4EFDCD2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11868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B997CD-9192-4BE3-9CF3-0DACF4EFDCD2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13304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Empresa que se dedica a ayudar a pequeños negocios a conseguir créditos</a:t>
            </a:r>
          </a:p>
          <a:p>
            <a:r>
              <a:rPr lang="es-ES" dirty="0"/>
              <a:t>Objetivos: modelo, analizar las variables y en tercer lugar identificar factores de ries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B997CD-9192-4BE3-9CF3-0DACF4EFDCD2}" type="slidenum">
              <a:rPr lang="es-ES" smtClean="0"/>
              <a:pPr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02618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Los errores tan solo tiene sentido el R2 que indica la </a:t>
            </a:r>
            <a:r>
              <a:rPr lang="es-ES" dirty="0" err="1"/>
              <a:t>precisón</a:t>
            </a:r>
            <a:r>
              <a:rPr lang="es-ES" dirty="0"/>
              <a:t>, aun que visto en retrospectiva quizá se podría haber hecho un modelo de clasificació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B997CD-9192-4BE3-9CF3-0DACF4EFDCD2}" type="slidenum">
              <a:rPr lang="es-ES" smtClean="0"/>
              <a:pPr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96234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Algunos datos interesantes,</a:t>
            </a:r>
          </a:p>
          <a:p>
            <a:r>
              <a:rPr lang="es-ES" dirty="0"/>
              <a:t>En segundo lugar,</a:t>
            </a:r>
          </a:p>
          <a:p>
            <a:r>
              <a:rPr lang="es-ES" dirty="0"/>
              <a:t>Hay un indicador,</a:t>
            </a:r>
          </a:p>
          <a:p>
            <a:r>
              <a:rPr lang="es-ES" dirty="0"/>
              <a:t>También se ha visto.</a:t>
            </a:r>
          </a:p>
          <a:p>
            <a:r>
              <a:rPr lang="es-ES" dirty="0"/>
              <a:t>Por últi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B997CD-9192-4BE3-9CF3-0DACF4EFDCD2}" type="slidenum">
              <a:rPr lang="es-ES" smtClean="0"/>
              <a:pPr/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056003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Los motivos que podrían explicar los resultados anteriores podrían ser que hay distintos niveles de riesgo entre industrias</a:t>
            </a:r>
          </a:p>
          <a:p>
            <a:r>
              <a:rPr lang="es-ES" dirty="0"/>
              <a:t>También que entre estados puede haber diferencias económicas </a:t>
            </a:r>
          </a:p>
          <a:p>
            <a:r>
              <a:rPr lang="es-ES" dirty="0"/>
              <a:t>En tercer lugar que a mayor es el pago más complicado de devolver, </a:t>
            </a:r>
          </a:p>
          <a:p>
            <a:r>
              <a:rPr lang="es-ES" dirty="0"/>
              <a:t>Por último, que los negocios con menos de dos años es más posible que fracasen que los ya establecid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B997CD-9192-4BE3-9CF3-0DACF4EFDCD2}" type="slidenum">
              <a:rPr lang="es-ES" smtClean="0"/>
              <a:pPr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866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B997CD-9192-4BE3-9CF3-0DACF4EFDCD2}" type="slidenum">
              <a:rPr lang="es-ES" smtClean="0"/>
              <a:pPr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971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jpeg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441402"/>
              </p:ext>
            </p:extLst>
          </p:nvPr>
        </p:nvGraphicFramePr>
        <p:xfrm>
          <a:off x="1828" y="1465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8" y="1465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6">
            <a:extLst>
              <a:ext uri="{FF2B5EF4-FFF2-40B4-BE49-F238E27FC236}">
                <a16:creationId xmlns:a16="http://schemas.microsoft.com/office/drawing/2014/main" id="{A4DB56B7-0027-440C-92B9-A720CB80E0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 bwMode="auto">
          <a:xfrm>
            <a:off x="3639" y="2904"/>
            <a:ext cx="12188363" cy="6855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0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399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6832A1B3-079F-4E4B-AE45-5BB57C425A1E}"/>
              </a:ext>
            </a:extLst>
          </p:cNvPr>
          <p:cNvSpPr/>
          <p:nvPr userDrawn="1"/>
        </p:nvSpPr>
        <p:spPr>
          <a:xfrm flipH="1">
            <a:off x="865188" y="2106973"/>
            <a:ext cx="8070850" cy="2644055"/>
          </a:xfrm>
          <a:prstGeom prst="parallelogram">
            <a:avLst/>
          </a:prstGeom>
          <a:solidFill>
            <a:srgbClr val="4D728D">
              <a:alpha val="80000"/>
            </a:srgbClr>
          </a:solidFill>
          <a:ln w="9525">
            <a:noFill/>
          </a:ln>
          <a:effectLst>
            <a:outerShdw blurRad="38100" dist="50800" dir="2400000" algn="tl" rotWithShape="0">
              <a:schemeClr val="bg1">
                <a:lumMod val="60000"/>
                <a:lumOff val="40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219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8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0877128-CA57-411F-97C4-C2D3D98900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6033" y="5764422"/>
            <a:ext cx="816510" cy="86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3847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55">
          <p15:clr>
            <a:srgbClr val="FBAE40"/>
          </p15:clr>
        </p15:guide>
        <p15:guide id="2" pos="464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441402"/>
              </p:ext>
            </p:extLst>
          </p:nvPr>
        </p:nvGraphicFramePr>
        <p:xfrm>
          <a:off x="1828" y="1465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8" y="1465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6">
            <a:extLst>
              <a:ext uri="{FF2B5EF4-FFF2-40B4-BE49-F238E27FC236}">
                <a16:creationId xmlns:a16="http://schemas.microsoft.com/office/drawing/2014/main" id="{A4DB56B7-0027-440C-92B9-A720CB80E0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 bwMode="auto">
          <a:xfrm>
            <a:off x="3639" y="2904"/>
            <a:ext cx="12188363" cy="6855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0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399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0877128-CA57-411F-97C4-C2D3D98900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6033" y="5764422"/>
            <a:ext cx="816510" cy="86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3">
            <a:extLst>
              <a:ext uri="{FF2B5EF4-FFF2-40B4-BE49-F238E27FC236}">
                <a16:creationId xmlns:a16="http://schemas.microsoft.com/office/drawing/2014/main" id="{B8E35327-C921-485D-82BD-92C24B69BB01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367588" cy="6858000"/>
          </a:xfrm>
          <a:prstGeom prst="rect">
            <a:avLst/>
          </a:prstGeom>
          <a:gradFill flip="none" rotWithShape="1">
            <a:gsLst>
              <a:gs pos="52000">
                <a:schemeClr val="bg2">
                  <a:alpha val="30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  <a:tileRect/>
          </a:gra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68329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64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441402"/>
              </p:ext>
            </p:extLst>
          </p:nvPr>
        </p:nvGraphicFramePr>
        <p:xfrm>
          <a:off x="1828" y="1465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8" y="1465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6">
            <a:extLst>
              <a:ext uri="{FF2B5EF4-FFF2-40B4-BE49-F238E27FC236}">
                <a16:creationId xmlns:a16="http://schemas.microsoft.com/office/drawing/2014/main" id="{A4DB56B7-0027-440C-92B9-A720CB80E0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 bwMode="auto">
          <a:xfrm>
            <a:off x="3639" y="2904"/>
            <a:ext cx="12188363" cy="6855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06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399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cxnSp>
        <p:nvCxnSpPr>
          <p:cNvPr id="21" name="Straight Connector 41">
            <a:extLst>
              <a:ext uri="{FF2B5EF4-FFF2-40B4-BE49-F238E27FC236}">
                <a16:creationId xmlns:a16="http://schemas.microsoft.com/office/drawing/2014/main" id="{EC020AFF-3723-4623-BCE4-3245D74B3DBC}"/>
              </a:ext>
            </a:extLst>
          </p:cNvPr>
          <p:cNvCxnSpPr>
            <a:cxnSpLocks/>
          </p:cNvCxnSpPr>
          <p:nvPr userDrawn="1"/>
        </p:nvCxnSpPr>
        <p:spPr>
          <a:xfrm>
            <a:off x="2438400" y="0"/>
            <a:ext cx="0" cy="6858000"/>
          </a:xfrm>
          <a:prstGeom prst="line">
            <a:avLst/>
          </a:prstGeom>
          <a:ln w="28575">
            <a:solidFill>
              <a:schemeClr val="tx2">
                <a:alpha val="49804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41">
            <a:extLst>
              <a:ext uri="{FF2B5EF4-FFF2-40B4-BE49-F238E27FC236}">
                <a16:creationId xmlns:a16="http://schemas.microsoft.com/office/drawing/2014/main" id="{36182F83-12F4-464A-9B7A-9963E87CCFE5}"/>
              </a:ext>
            </a:extLst>
          </p:cNvPr>
          <p:cNvCxnSpPr>
            <a:cxnSpLocks/>
          </p:cNvCxnSpPr>
          <p:nvPr userDrawn="1"/>
        </p:nvCxnSpPr>
        <p:spPr>
          <a:xfrm>
            <a:off x="4876800" y="0"/>
            <a:ext cx="0" cy="6858000"/>
          </a:xfrm>
          <a:prstGeom prst="line">
            <a:avLst/>
          </a:prstGeom>
          <a:ln w="28575">
            <a:solidFill>
              <a:schemeClr val="tx2">
                <a:alpha val="49804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41">
            <a:extLst>
              <a:ext uri="{FF2B5EF4-FFF2-40B4-BE49-F238E27FC236}">
                <a16:creationId xmlns:a16="http://schemas.microsoft.com/office/drawing/2014/main" id="{4944F810-4F85-4694-BD64-19DE62C356B7}"/>
              </a:ext>
            </a:extLst>
          </p:cNvPr>
          <p:cNvCxnSpPr>
            <a:cxnSpLocks/>
          </p:cNvCxnSpPr>
          <p:nvPr userDrawn="1"/>
        </p:nvCxnSpPr>
        <p:spPr>
          <a:xfrm>
            <a:off x="7315200" y="0"/>
            <a:ext cx="0" cy="6858000"/>
          </a:xfrm>
          <a:prstGeom prst="line">
            <a:avLst/>
          </a:prstGeom>
          <a:ln w="28575">
            <a:solidFill>
              <a:schemeClr val="tx2">
                <a:alpha val="49804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1">
            <a:extLst>
              <a:ext uri="{FF2B5EF4-FFF2-40B4-BE49-F238E27FC236}">
                <a16:creationId xmlns:a16="http://schemas.microsoft.com/office/drawing/2014/main" id="{4F8FBE88-A941-4C5E-9AC5-F6501A3E3243}"/>
              </a:ext>
            </a:extLst>
          </p:cNvPr>
          <p:cNvCxnSpPr>
            <a:cxnSpLocks/>
          </p:cNvCxnSpPr>
          <p:nvPr userDrawn="1"/>
        </p:nvCxnSpPr>
        <p:spPr>
          <a:xfrm>
            <a:off x="9753600" y="0"/>
            <a:ext cx="0" cy="6858000"/>
          </a:xfrm>
          <a:prstGeom prst="line">
            <a:avLst/>
          </a:prstGeom>
          <a:ln w="28575">
            <a:solidFill>
              <a:schemeClr val="tx2">
                <a:alpha val="49804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1930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64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4969413"/>
              </p:ext>
            </p:extLst>
          </p:nvPr>
        </p:nvGraphicFramePr>
        <p:xfrm>
          <a:off x="1586" y="1590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6" y="1590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 sz="1800" b="0" i="0"/>
            </a:lvl1pPr>
          </a:lstStyle>
          <a:p>
            <a:r>
              <a:rPr lang="es-ES" noProof="0" dirty="0" err="1"/>
              <a:t>Title</a:t>
            </a:r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83143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3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B8D29B-AAE8-4B78-A18C-13C7A6CD4A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42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B8D29B-AAE8-4B78-A18C-13C7A6CD4A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848E9B-A199-41FE-BEBD-A47426624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CA89127D-45CF-4E8B-ABBB-3ED13CB470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9" b="7829"/>
          <a:stretch/>
        </p:blipFill>
        <p:spPr bwMode="auto">
          <a:xfrm>
            <a:off x="3639" y="2904"/>
            <a:ext cx="12188363" cy="6855099"/>
          </a:xfrm>
          <a:prstGeom prst="rect">
            <a:avLst/>
          </a:prstGeom>
          <a:solidFill>
            <a:schemeClr val="tx2">
              <a:alpha val="34000"/>
            </a:schemeClr>
          </a:solidFill>
          <a:ln w="9525"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36447BA-3D0E-436B-82B5-9AA041DEDF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219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88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6179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08420719"/>
              </p:ext>
            </p:extLst>
          </p:nvPr>
        </p:nvGraphicFramePr>
        <p:xfrm>
          <a:off x="1586" y="1590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6" y="1590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8"/>
            </p:custDataLst>
          </p:nvPr>
        </p:nvSpPr>
        <p:spPr>
          <a:xfrm>
            <a:off x="2" y="2"/>
            <a:ext cx="158668" cy="1307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21991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9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92667" y="6452908"/>
            <a:ext cx="722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219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24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age </a:t>
            </a:r>
            <a:fld id="{9AE4D82F-B047-469B-AC52-A46321747EAF}" type="slidenum">
              <a:rPr kumimoji="0" lang="es-ES" sz="824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pPr marL="0" marR="0" lvl="0" indent="0" algn="l" defTabSz="9219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82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14" name="Line 10"/>
          <p:cNvSpPr>
            <a:spLocks noChangeShapeType="1"/>
          </p:cNvSpPr>
          <p:nvPr userDrawn="1"/>
        </p:nvSpPr>
        <p:spPr bwMode="auto">
          <a:xfrm>
            <a:off x="609601" y="858447"/>
            <a:ext cx="10972801" cy="0"/>
          </a:xfrm>
          <a:prstGeom prst="line">
            <a:avLst/>
          </a:prstGeom>
          <a:noFill/>
          <a:ln w="19050">
            <a:solidFill>
              <a:srgbClr val="32C3FF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3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61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92666" y="135590"/>
            <a:ext cx="11006670" cy="7122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noProof="0" dirty="0"/>
              <a:t>Bann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62F16D-4EB7-4671-AF6F-82620D0A83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90751" y="6449362"/>
            <a:ext cx="3210502" cy="208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2199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24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Ironhack</a:t>
            </a:r>
            <a:r>
              <a:rPr kumimoji="0" lang="es-ES" sz="824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– Final Project Data &amp; </a:t>
            </a:r>
            <a:r>
              <a:rPr kumimoji="0" lang="es-ES" sz="824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Analytics</a:t>
            </a:r>
            <a:r>
              <a:rPr kumimoji="0" lang="es-ES" sz="824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2199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24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®</a:t>
            </a:r>
            <a:r>
              <a:rPr kumimoji="0" lang="es-ES" sz="824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All</a:t>
            </a:r>
            <a:r>
              <a:rPr kumimoji="0" lang="es-ES" sz="824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r>
              <a:rPr kumimoji="0" lang="es-ES" sz="824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rights</a:t>
            </a:r>
            <a:r>
              <a:rPr kumimoji="0" lang="es-ES" sz="824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r>
              <a:rPr kumimoji="0" lang="es-ES" sz="824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reserved</a:t>
            </a:r>
            <a:r>
              <a:rPr kumimoji="0" lang="es-ES" sz="824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2022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6FAB22B3-B4D1-4407-9DA6-A4329CF96D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3988" y="6384572"/>
            <a:ext cx="318424" cy="33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8343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4" r:id="rId2"/>
    <p:sldLayoutId id="2147483655" r:id="rId3"/>
    <p:sldLayoutId id="2147483653" r:id="rId4"/>
    <p:sldLayoutId id="2147483651" r:id="rId5"/>
  </p:sldLayoutIdLst>
  <p:hf hdr="0" dt="0"/>
  <p:txStyles>
    <p:titleStyle>
      <a:lvl1pPr algn="l" defTabSz="742083" rtl="0" eaLnBrk="1" latinLnBrk="0" hangingPunct="1">
        <a:lnSpc>
          <a:spcPct val="85000"/>
        </a:lnSpc>
        <a:spcBef>
          <a:spcPct val="0"/>
        </a:spcBef>
        <a:buNone/>
        <a:defRPr sz="1800" b="0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89412" indent="-289412" algn="l" defTabSz="742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48" kern="1200">
          <a:solidFill>
            <a:schemeClr val="bg1"/>
          </a:solidFill>
          <a:latin typeface="+mn-lt"/>
          <a:ea typeface="+mn-ea"/>
          <a:cs typeface="+mn-cs"/>
        </a:defRPr>
      </a:lvl1pPr>
      <a:lvl2pPr marL="578825" indent="-289412" algn="l" defTabSz="742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23" kern="1200">
          <a:solidFill>
            <a:schemeClr val="bg1"/>
          </a:solidFill>
          <a:latin typeface="+mn-lt"/>
          <a:ea typeface="+mn-ea"/>
          <a:cs typeface="+mn-cs"/>
        </a:defRPr>
      </a:lvl2pPr>
      <a:lvl3pPr marL="868238" indent="-289412" algn="l" defTabSz="742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61" kern="1200">
          <a:solidFill>
            <a:schemeClr val="bg1"/>
          </a:solidFill>
          <a:latin typeface="+mn-lt"/>
          <a:ea typeface="+mn-ea"/>
          <a:cs typeface="+mn-cs"/>
        </a:defRPr>
      </a:lvl3pPr>
      <a:lvl4pPr marL="1157649" indent="-289412" algn="l" defTabSz="742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98" kern="1200">
          <a:solidFill>
            <a:schemeClr val="bg1"/>
          </a:solidFill>
          <a:latin typeface="+mn-lt"/>
          <a:ea typeface="+mn-ea"/>
          <a:cs typeface="+mn-cs"/>
        </a:defRPr>
      </a:lvl4pPr>
      <a:lvl5pPr marL="1447062" indent="-289412" algn="l" defTabSz="742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98" kern="1200">
          <a:solidFill>
            <a:schemeClr val="bg1"/>
          </a:solidFill>
          <a:latin typeface="+mn-lt"/>
          <a:ea typeface="+mn-ea"/>
          <a:cs typeface="+mn-cs"/>
        </a:defRPr>
      </a:lvl5pPr>
      <a:lvl6pPr marL="2040729" indent="-185521" algn="l" defTabSz="742083" rtl="0" eaLnBrk="1" latinLnBrk="0" hangingPunct="1">
        <a:spcBef>
          <a:spcPct val="20000"/>
        </a:spcBef>
        <a:buFont typeface="Arial" pitchFamily="34" charset="0"/>
        <a:buChar char="•"/>
        <a:defRPr sz="1623" kern="1200">
          <a:solidFill>
            <a:schemeClr val="tx1"/>
          </a:solidFill>
          <a:latin typeface="+mn-lt"/>
          <a:ea typeface="+mn-ea"/>
          <a:cs typeface="+mn-cs"/>
        </a:defRPr>
      </a:lvl6pPr>
      <a:lvl7pPr marL="2411770" indent="-185521" algn="l" defTabSz="742083" rtl="0" eaLnBrk="1" latinLnBrk="0" hangingPunct="1">
        <a:spcBef>
          <a:spcPct val="20000"/>
        </a:spcBef>
        <a:buFont typeface="Arial" pitchFamily="34" charset="0"/>
        <a:buChar char="•"/>
        <a:defRPr sz="1623" kern="1200">
          <a:solidFill>
            <a:schemeClr val="tx1"/>
          </a:solidFill>
          <a:latin typeface="+mn-lt"/>
          <a:ea typeface="+mn-ea"/>
          <a:cs typeface="+mn-cs"/>
        </a:defRPr>
      </a:lvl7pPr>
      <a:lvl8pPr marL="2782811" indent="-185521" algn="l" defTabSz="742083" rtl="0" eaLnBrk="1" latinLnBrk="0" hangingPunct="1">
        <a:spcBef>
          <a:spcPct val="20000"/>
        </a:spcBef>
        <a:buFont typeface="Arial" pitchFamily="34" charset="0"/>
        <a:buChar char="•"/>
        <a:defRPr sz="1623" kern="1200">
          <a:solidFill>
            <a:schemeClr val="tx1"/>
          </a:solidFill>
          <a:latin typeface="+mn-lt"/>
          <a:ea typeface="+mn-ea"/>
          <a:cs typeface="+mn-cs"/>
        </a:defRPr>
      </a:lvl8pPr>
      <a:lvl9pPr marL="3153852" indent="-185521" algn="l" defTabSz="742083" rtl="0" eaLnBrk="1" latinLnBrk="0" hangingPunct="1">
        <a:spcBef>
          <a:spcPct val="20000"/>
        </a:spcBef>
        <a:buFont typeface="Arial" pitchFamily="34" charset="0"/>
        <a:buChar char="•"/>
        <a:defRPr sz="16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1pPr>
      <a:lvl2pPr marL="371041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2pPr>
      <a:lvl3pPr marL="742083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3pPr>
      <a:lvl4pPr marL="1113124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4pPr>
      <a:lvl5pPr marL="1484166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5pPr>
      <a:lvl6pPr marL="1855208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6pPr>
      <a:lvl7pPr marL="2226248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7pPr>
      <a:lvl8pPr marL="2597291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8pPr>
      <a:lvl9pPr marL="2968332" algn="l" defTabSz="742083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33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6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emf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4.emf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0.sv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4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0E93C7-7374-4642-B987-F4FECF789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5979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0E93C7-7374-4642-B987-F4FECF789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CA50B6A-DE85-4B6D-A098-0AD5843A9A74}"/>
              </a:ext>
            </a:extLst>
          </p:cNvPr>
          <p:cNvSpPr txBox="1"/>
          <p:nvPr/>
        </p:nvSpPr>
        <p:spPr>
          <a:xfrm>
            <a:off x="1951445" y="2785503"/>
            <a:ext cx="5905500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3600" dirty="0">
                <a:solidFill>
                  <a:schemeClr val="tx2"/>
                </a:solidFill>
              </a:rPr>
              <a:t>Data &amp; </a:t>
            </a:r>
            <a:r>
              <a:rPr lang="es-ES" sz="3600" dirty="0" err="1">
                <a:solidFill>
                  <a:schemeClr val="tx2"/>
                </a:solidFill>
              </a:rPr>
              <a:t>Analytics</a:t>
            </a:r>
            <a:r>
              <a:rPr lang="es-ES" sz="3600" dirty="0">
                <a:solidFill>
                  <a:schemeClr val="tx2"/>
                </a:solidFill>
              </a:rPr>
              <a:t> – </a:t>
            </a:r>
            <a:r>
              <a:rPr lang="es-ES" sz="3600" dirty="0" err="1">
                <a:solidFill>
                  <a:schemeClr val="tx2"/>
                </a:solidFill>
              </a:rPr>
              <a:t>Ironhack</a:t>
            </a:r>
            <a:endParaRPr lang="es-ES" sz="2800" dirty="0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5173E3-A3D0-40A8-98AA-6B8066A584EB}"/>
              </a:ext>
            </a:extLst>
          </p:cNvPr>
          <p:cNvSpPr txBox="1"/>
          <p:nvPr/>
        </p:nvSpPr>
        <p:spPr>
          <a:xfrm>
            <a:off x="9536612" y="5907520"/>
            <a:ext cx="2219960" cy="53245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1600" dirty="0">
                <a:solidFill>
                  <a:schemeClr val="tx2"/>
                </a:solidFill>
              </a:rPr>
              <a:t>Joan Viladomiu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1600" dirty="0">
                <a:solidFill>
                  <a:schemeClr val="tx2"/>
                </a:solidFill>
              </a:rPr>
              <a:t>Diciembre, 202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A444FC-394E-4B76-9269-C7FA543E1514}"/>
              </a:ext>
            </a:extLst>
          </p:cNvPr>
          <p:cNvSpPr txBox="1"/>
          <p:nvPr/>
        </p:nvSpPr>
        <p:spPr>
          <a:xfrm>
            <a:off x="1951445" y="3417987"/>
            <a:ext cx="5905500" cy="40318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2800" dirty="0">
                <a:solidFill>
                  <a:schemeClr val="tx2"/>
                </a:solidFill>
              </a:rPr>
              <a:t>Aprobación de créditos (SBA)</a:t>
            </a:r>
          </a:p>
        </p:txBody>
      </p:sp>
    </p:spTree>
    <p:extLst>
      <p:ext uri="{BB962C8B-B14F-4D97-AF65-F5344CB8AC3E}">
        <p14:creationId xmlns:p14="http://schemas.microsoft.com/office/powerpoint/2010/main" val="4084014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7DE2E9-A32B-4253-BD3A-484BBC42B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368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7DE2E9-A32B-4253-BD3A-484BBC42B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4D097337-DEFB-40F6-B2A8-512AB0CEFA67}"/>
              </a:ext>
            </a:extLst>
          </p:cNvPr>
          <p:cNvSpPr/>
          <p:nvPr/>
        </p:nvSpPr>
        <p:spPr>
          <a:xfrm>
            <a:off x="1487488" y="4478434"/>
            <a:ext cx="5256584" cy="432048"/>
          </a:xfrm>
          <a:prstGeom prst="rect">
            <a:avLst/>
          </a:prstGeom>
          <a:solidFill>
            <a:srgbClr val="4D728D">
              <a:alpha val="10196"/>
            </a:srgb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E75176-351B-49B7-9345-6B0912011C6D}"/>
              </a:ext>
            </a:extLst>
          </p:cNvPr>
          <p:cNvSpPr/>
          <p:nvPr/>
        </p:nvSpPr>
        <p:spPr>
          <a:xfrm>
            <a:off x="1487488" y="1947518"/>
            <a:ext cx="5256584" cy="432048"/>
          </a:xfrm>
          <a:prstGeom prst="rect">
            <a:avLst/>
          </a:prstGeom>
          <a:solidFill>
            <a:srgbClr val="4D728D">
              <a:alpha val="10196"/>
            </a:srgb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F47303-341F-47D4-9B06-878C82F3760A}"/>
              </a:ext>
            </a:extLst>
          </p:cNvPr>
          <p:cNvSpPr/>
          <p:nvPr/>
        </p:nvSpPr>
        <p:spPr>
          <a:xfrm>
            <a:off x="1487488" y="3634796"/>
            <a:ext cx="5256584" cy="432048"/>
          </a:xfrm>
          <a:prstGeom prst="rect">
            <a:avLst/>
          </a:prstGeom>
          <a:solidFill>
            <a:srgbClr val="4D728D">
              <a:alpha val="10196"/>
            </a:srgb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5F0AEE-2DBA-4389-95AD-BBDF32471416}"/>
              </a:ext>
            </a:extLst>
          </p:cNvPr>
          <p:cNvSpPr/>
          <p:nvPr/>
        </p:nvSpPr>
        <p:spPr>
          <a:xfrm>
            <a:off x="1487488" y="2791157"/>
            <a:ext cx="5256584" cy="432048"/>
          </a:xfrm>
          <a:prstGeom prst="rect">
            <a:avLst/>
          </a:prstGeom>
          <a:solidFill>
            <a:srgbClr val="4D728D">
              <a:alpha val="10196"/>
            </a:srgb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FC853-3152-416C-8C98-D3A291F725F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0863" y="339726"/>
            <a:ext cx="11090275" cy="712787"/>
          </a:xfrm>
        </p:spPr>
        <p:txBody>
          <a:bodyPr vert="horz"/>
          <a:lstStyle/>
          <a:p>
            <a:r>
              <a:rPr lang="es-ES" sz="3600" dirty="0"/>
              <a:t>Índic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D9AA5CC-A185-44DF-B870-DA2DC1F819A1}"/>
              </a:ext>
            </a:extLst>
          </p:cNvPr>
          <p:cNvSpPr txBox="1"/>
          <p:nvPr/>
        </p:nvSpPr>
        <p:spPr>
          <a:xfrm>
            <a:off x="1631504" y="2831749"/>
            <a:ext cx="5159755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2400" dirty="0">
                <a:solidFill>
                  <a:schemeClr val="tx2"/>
                </a:solidFill>
              </a:rPr>
              <a:t>Metodología</a:t>
            </a:r>
          </a:p>
        </p:txBody>
      </p:sp>
      <p:sp>
        <p:nvSpPr>
          <p:cNvPr id="43" name="Textfeld 4">
            <a:extLst>
              <a:ext uri="{FF2B5EF4-FFF2-40B4-BE49-F238E27FC236}">
                <a16:creationId xmlns:a16="http://schemas.microsoft.com/office/drawing/2014/main" id="{DF83FDE7-C0CF-426C-8BFE-2C9395FCD1F1}"/>
              </a:ext>
            </a:extLst>
          </p:cNvPr>
          <p:cNvSpPr txBox="1"/>
          <p:nvPr/>
        </p:nvSpPr>
        <p:spPr bwMode="gray">
          <a:xfrm>
            <a:off x="931260" y="2730182"/>
            <a:ext cx="278923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kern="0" dirty="0">
                <a:ln w="12700">
                  <a:noFill/>
                </a:ln>
                <a:solidFill>
                  <a:srgbClr val="32C3FF"/>
                </a:solidFill>
                <a:latin typeface="EYInterstate Light"/>
              </a:rPr>
              <a:t>II</a:t>
            </a:r>
            <a:endParaRPr kumimoji="0" lang="en-US" sz="4000" i="0" u="none" strike="noStrike" kern="0" cap="none" spc="0" normalizeH="0" baseline="0" noProof="0" dirty="0">
              <a:ln w="12700">
                <a:noFill/>
              </a:ln>
              <a:solidFill>
                <a:srgbClr val="32C3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D12657B-39ED-4107-B3A3-C22665CE29CD}"/>
              </a:ext>
            </a:extLst>
          </p:cNvPr>
          <p:cNvSpPr txBox="1"/>
          <p:nvPr/>
        </p:nvSpPr>
        <p:spPr>
          <a:xfrm>
            <a:off x="1631504" y="3675388"/>
            <a:ext cx="5159755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2400" dirty="0">
                <a:solidFill>
                  <a:schemeClr val="tx2"/>
                </a:solidFill>
              </a:rPr>
              <a:t>Resultados interesantes</a:t>
            </a:r>
          </a:p>
        </p:txBody>
      </p:sp>
      <p:sp>
        <p:nvSpPr>
          <p:cNvPr id="45" name="Textfeld 4">
            <a:extLst>
              <a:ext uri="{FF2B5EF4-FFF2-40B4-BE49-F238E27FC236}">
                <a16:creationId xmlns:a16="http://schemas.microsoft.com/office/drawing/2014/main" id="{4C2BEE10-6B61-43B2-A5E8-5C5ADD5DBC38}"/>
              </a:ext>
            </a:extLst>
          </p:cNvPr>
          <p:cNvSpPr txBox="1"/>
          <p:nvPr/>
        </p:nvSpPr>
        <p:spPr bwMode="gray">
          <a:xfrm>
            <a:off x="861530" y="3573821"/>
            <a:ext cx="418384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kern="0" dirty="0">
                <a:ln w="12700">
                  <a:noFill/>
                </a:ln>
                <a:solidFill>
                  <a:srgbClr val="32C3FF"/>
                </a:solidFill>
                <a:latin typeface="EYInterstate Light"/>
              </a:rPr>
              <a:t>III</a:t>
            </a:r>
            <a:endParaRPr kumimoji="0" lang="en-US" sz="4000" i="0" u="none" strike="noStrike" kern="0" cap="none" spc="0" normalizeH="0" baseline="0" noProof="0" dirty="0">
              <a:ln w="12700">
                <a:noFill/>
              </a:ln>
              <a:solidFill>
                <a:srgbClr val="32C3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A17C94-D833-4CE5-A36A-47971A718787}"/>
              </a:ext>
            </a:extLst>
          </p:cNvPr>
          <p:cNvSpPr txBox="1"/>
          <p:nvPr/>
        </p:nvSpPr>
        <p:spPr>
          <a:xfrm>
            <a:off x="1631504" y="1906691"/>
            <a:ext cx="5159755" cy="513702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2400" dirty="0">
                <a:solidFill>
                  <a:schemeClr val="tx2"/>
                </a:solidFill>
              </a:rPr>
              <a:t>Contexto y objetivos del proyecto</a:t>
            </a:r>
          </a:p>
        </p:txBody>
      </p:sp>
      <p:sp>
        <p:nvSpPr>
          <p:cNvPr id="46" name="Textfeld 4">
            <a:extLst>
              <a:ext uri="{FF2B5EF4-FFF2-40B4-BE49-F238E27FC236}">
                <a16:creationId xmlns:a16="http://schemas.microsoft.com/office/drawing/2014/main" id="{360FF63A-F9C4-438E-A5AB-EE9F8E57B812}"/>
              </a:ext>
            </a:extLst>
          </p:cNvPr>
          <p:cNvSpPr txBox="1"/>
          <p:nvPr/>
        </p:nvSpPr>
        <p:spPr bwMode="gray">
          <a:xfrm>
            <a:off x="767408" y="1886543"/>
            <a:ext cx="6066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kern="0" dirty="0">
                <a:ln w="12700">
                  <a:noFill/>
                </a:ln>
                <a:solidFill>
                  <a:srgbClr val="32C3FF"/>
                </a:solidFill>
                <a:latin typeface="EYInterstate Light"/>
              </a:rPr>
              <a:t>I</a:t>
            </a:r>
            <a:endParaRPr kumimoji="0" lang="en-US" sz="4000" i="0" u="none" strike="noStrike" kern="0" cap="none" spc="0" normalizeH="0" baseline="0" noProof="0" dirty="0">
              <a:ln w="12700">
                <a:noFill/>
              </a:ln>
              <a:solidFill>
                <a:srgbClr val="32C3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3CE8737-DE54-4F9B-AA84-871CA62E775E}"/>
              </a:ext>
            </a:extLst>
          </p:cNvPr>
          <p:cNvSpPr txBox="1"/>
          <p:nvPr/>
        </p:nvSpPr>
        <p:spPr>
          <a:xfrm>
            <a:off x="1631504" y="4411922"/>
            <a:ext cx="5159755" cy="565072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2400" dirty="0">
                <a:solidFill>
                  <a:schemeClr val="tx2"/>
                </a:solidFill>
              </a:rPr>
              <a:t>Conclusiones</a:t>
            </a:r>
          </a:p>
        </p:txBody>
      </p:sp>
      <p:sp>
        <p:nvSpPr>
          <p:cNvPr id="47" name="Textfeld 4">
            <a:extLst>
              <a:ext uri="{FF2B5EF4-FFF2-40B4-BE49-F238E27FC236}">
                <a16:creationId xmlns:a16="http://schemas.microsoft.com/office/drawing/2014/main" id="{C6493AA4-1D3F-42F9-BC86-7CCACE9D4BBF}"/>
              </a:ext>
            </a:extLst>
          </p:cNvPr>
          <p:cNvSpPr txBox="1"/>
          <p:nvPr/>
        </p:nvSpPr>
        <p:spPr bwMode="gray">
          <a:xfrm>
            <a:off x="767408" y="4417459"/>
            <a:ext cx="6066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kern="0" dirty="0">
                <a:ln w="12700">
                  <a:noFill/>
                </a:ln>
                <a:solidFill>
                  <a:srgbClr val="32C3FF"/>
                </a:solidFill>
                <a:latin typeface="EYInterstate Light"/>
              </a:rPr>
              <a:t>IV</a:t>
            </a:r>
            <a:endParaRPr kumimoji="0" lang="en-US" sz="4000" i="0" u="none" strike="noStrike" kern="0" cap="none" spc="0" normalizeH="0" baseline="0" noProof="0" dirty="0">
              <a:ln w="12700">
                <a:noFill/>
              </a:ln>
              <a:solidFill>
                <a:srgbClr val="32C3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1284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7DE2E9-A32B-4253-BD3A-484BBC42B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414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7DE2E9-A32B-4253-BD3A-484BBC42B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Flowchart: Off-page Connector 39">
            <a:extLst>
              <a:ext uri="{FF2B5EF4-FFF2-40B4-BE49-F238E27FC236}">
                <a16:creationId xmlns:a16="http://schemas.microsoft.com/office/drawing/2014/main" id="{13E6B38D-CA91-426F-A3AC-6646EF3961D8}"/>
              </a:ext>
            </a:extLst>
          </p:cNvPr>
          <p:cNvSpPr/>
          <p:nvPr/>
        </p:nvSpPr>
        <p:spPr>
          <a:xfrm rot="16200000">
            <a:off x="1214404" y="1067680"/>
            <a:ext cx="5112569" cy="5226690"/>
          </a:xfrm>
          <a:prstGeom prst="flowChartOffpageConnector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3DD9AA9-5CF8-4C56-B5B2-F1EA3327A92C}"/>
              </a:ext>
            </a:extLst>
          </p:cNvPr>
          <p:cNvSpPr/>
          <p:nvPr/>
        </p:nvSpPr>
        <p:spPr>
          <a:xfrm>
            <a:off x="5837862" y="1124745"/>
            <a:ext cx="5196794" cy="5112568"/>
          </a:xfrm>
          <a:prstGeom prst="rect">
            <a:avLst/>
          </a:prstGeom>
          <a:solidFill>
            <a:srgbClr val="2F5597">
              <a:alpha val="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FC853-3152-416C-8C98-D3A291F72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I. Contexto y objetivos del proyect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55EC592-C7C1-40B7-9B02-9C43AE09812B}"/>
              </a:ext>
            </a:extLst>
          </p:cNvPr>
          <p:cNvSpPr txBox="1"/>
          <p:nvPr/>
        </p:nvSpPr>
        <p:spPr>
          <a:xfrm>
            <a:off x="1576548" y="2780928"/>
            <a:ext cx="3524182" cy="289239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Base de datos de la ‘</a:t>
            </a:r>
            <a:r>
              <a:rPr lang="es-ES" sz="1400" b="1" i="1" dirty="0">
                <a:solidFill>
                  <a:srgbClr val="32C3FF"/>
                </a:solidFill>
                <a:latin typeface="EYInterstate Light" panose="02000506000000020004" pitchFamily="2" charset="0"/>
              </a:rPr>
              <a:t>US Small Business </a:t>
            </a:r>
            <a:r>
              <a:rPr lang="es-ES" sz="1400" b="1" i="1" dirty="0" err="1">
                <a:solidFill>
                  <a:srgbClr val="32C3FF"/>
                </a:solidFill>
                <a:latin typeface="EYInterstate Light" panose="02000506000000020004" pitchFamily="2" charset="0"/>
              </a:rPr>
              <a:t>Administration</a:t>
            </a:r>
            <a:r>
              <a:rPr lang="es-ES" sz="1400" b="1" i="1" dirty="0">
                <a:solidFill>
                  <a:srgbClr val="32C3FF"/>
                </a:solidFill>
                <a:latin typeface="EYInterstate Light" panose="02000506000000020004" pitchFamily="2" charset="0"/>
              </a:rPr>
              <a:t>’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(SBA)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EYInterstate Light" panose="02000506000000020004" pitchFamily="2" charset="0"/>
              </a:rPr>
              <a:t>La base de datos es un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histórico</a:t>
            </a:r>
            <a:r>
              <a:rPr lang="es-ES" sz="1400" dirty="0">
                <a:solidFill>
                  <a:srgbClr val="646464"/>
                </a:solidFill>
                <a:latin typeface="EYInterstate Light" panose="02000506000000020004" pitchFamily="2" charset="0"/>
              </a:rPr>
              <a:t> de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préstamos</a:t>
            </a:r>
            <a:r>
              <a:rPr lang="es-ES" sz="1400" dirty="0">
                <a:solidFill>
                  <a:srgbClr val="646464"/>
                </a:solidFill>
                <a:latin typeface="EYInterstate Light" panose="02000506000000020004" pitchFamily="2" charset="0"/>
              </a:rPr>
              <a:t> que va de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1987</a:t>
            </a:r>
            <a:r>
              <a:rPr lang="es-ES" sz="1400" dirty="0">
                <a:solidFill>
                  <a:srgbClr val="646464"/>
                </a:solidFill>
                <a:latin typeface="EYInterstate Light" panose="02000506000000020004" pitchFamily="2" charset="0"/>
              </a:rPr>
              <a:t> hasta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2014</a:t>
            </a:r>
            <a:r>
              <a:rPr lang="es-ES" sz="1400" dirty="0">
                <a:solidFill>
                  <a:srgbClr val="646464"/>
                </a:solidFill>
                <a:latin typeface="EYInterstate Light" panose="02000506000000020004" pitchFamily="2" charset="0"/>
              </a:rPr>
              <a:t> 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Incluye características de las empresas que lo solicitaron, plazos, importes y si se ha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devuelto el crédito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o hubo un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impago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90A53C9-588C-4B65-8E16-5B9CB5CC4894}"/>
              </a:ext>
            </a:extLst>
          </p:cNvPr>
          <p:cNvSpPr txBox="1"/>
          <p:nvPr/>
        </p:nvSpPr>
        <p:spPr>
          <a:xfrm>
            <a:off x="2516611" y="1988840"/>
            <a:ext cx="1644057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1600" b="1" dirty="0">
                <a:solidFill>
                  <a:schemeClr val="bg1"/>
                </a:solidFill>
              </a:rPr>
              <a:t>Contexto</a:t>
            </a:r>
          </a:p>
        </p:txBody>
      </p:sp>
      <p:pic>
        <p:nvPicPr>
          <p:cNvPr id="48" name="Graphic 47" descr="Projector screen outline">
            <a:extLst>
              <a:ext uri="{FF2B5EF4-FFF2-40B4-BE49-F238E27FC236}">
                <a16:creationId xmlns:a16="http://schemas.microsoft.com/office/drawing/2014/main" id="{CDBC06E8-CB6A-4B13-88BB-20D16BFA23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95138" y="1268760"/>
            <a:ext cx="687003" cy="687003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95D08666-966A-4FBA-A508-B7D2175FABB9}"/>
              </a:ext>
            </a:extLst>
          </p:cNvPr>
          <p:cNvSpPr txBox="1"/>
          <p:nvPr/>
        </p:nvSpPr>
        <p:spPr>
          <a:xfrm>
            <a:off x="7614231" y="1988840"/>
            <a:ext cx="1644057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1600" b="1" dirty="0">
                <a:solidFill>
                  <a:schemeClr val="bg1"/>
                </a:solidFill>
              </a:rPr>
              <a:t>Objetivos</a:t>
            </a:r>
          </a:p>
        </p:txBody>
      </p:sp>
      <p:pic>
        <p:nvPicPr>
          <p:cNvPr id="50" name="Graphic 49" descr="Bullseye outline">
            <a:extLst>
              <a:ext uri="{FF2B5EF4-FFF2-40B4-BE49-F238E27FC236}">
                <a16:creationId xmlns:a16="http://schemas.microsoft.com/office/drawing/2014/main" id="{25350B5B-C70B-4EB5-A689-2E8815909A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92758" y="1268760"/>
            <a:ext cx="687003" cy="68700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D696070B-8CAD-4D99-9C56-DF05533AE0D1}"/>
              </a:ext>
            </a:extLst>
          </p:cNvPr>
          <p:cNvSpPr txBox="1"/>
          <p:nvPr/>
        </p:nvSpPr>
        <p:spPr>
          <a:xfrm>
            <a:off x="7320136" y="3933056"/>
            <a:ext cx="3524182" cy="64562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Analizar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la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distribución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y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característica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de las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variable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de la base de datos</a:t>
            </a:r>
          </a:p>
        </p:txBody>
      </p:sp>
      <p:pic>
        <p:nvPicPr>
          <p:cNvPr id="7" name="Graphic 6" descr="Badge outline">
            <a:extLst>
              <a:ext uri="{FF2B5EF4-FFF2-40B4-BE49-F238E27FC236}">
                <a16:creationId xmlns:a16="http://schemas.microsoft.com/office/drawing/2014/main" id="{C1F8FD90-1CC8-481C-89E1-BD63EA8133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23271" y="3939792"/>
            <a:ext cx="624548" cy="624548"/>
          </a:xfrm>
          <a:prstGeom prst="rect">
            <a:avLst/>
          </a:prstGeom>
        </p:spPr>
      </p:pic>
      <p:pic>
        <p:nvPicPr>
          <p:cNvPr id="5" name="Graphic 4" descr="Badge 1 outline">
            <a:extLst>
              <a:ext uri="{FF2B5EF4-FFF2-40B4-BE49-F238E27FC236}">
                <a16:creationId xmlns:a16="http://schemas.microsoft.com/office/drawing/2014/main" id="{8A8D51FE-BE03-4111-BFF2-07D354D0F68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23271" y="2927877"/>
            <a:ext cx="624548" cy="62454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776659A-FA01-4B5B-B8A7-0B2F283BE9FB}"/>
              </a:ext>
            </a:extLst>
          </p:cNvPr>
          <p:cNvSpPr txBox="1"/>
          <p:nvPr/>
        </p:nvSpPr>
        <p:spPr>
          <a:xfrm>
            <a:off x="7320136" y="2755756"/>
            <a:ext cx="3524182" cy="96879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Construir un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modelo de predicción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que nos ayude a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determinar la aprobación o no de un crédito</a:t>
            </a:r>
            <a:endParaRPr lang="es-ES" sz="140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pic>
        <p:nvPicPr>
          <p:cNvPr id="9" name="Graphic 8" descr="Badge 3 outline">
            <a:extLst>
              <a:ext uri="{FF2B5EF4-FFF2-40B4-BE49-F238E27FC236}">
                <a16:creationId xmlns:a16="http://schemas.microsoft.com/office/drawing/2014/main" id="{252728A9-5170-4FB6-88B8-83F39B2DFC6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523271" y="4951707"/>
            <a:ext cx="624548" cy="62454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5A4A74D-8EA6-4A6E-8631-3C1F85D2D4FA}"/>
              </a:ext>
            </a:extLst>
          </p:cNvPr>
          <p:cNvSpPr txBox="1"/>
          <p:nvPr/>
        </p:nvSpPr>
        <p:spPr>
          <a:xfrm>
            <a:off x="7320136" y="4941168"/>
            <a:ext cx="3524182" cy="64562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Identificar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factores de riesgo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para evitar potenciales impago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3CF87E-39A8-4073-A4B4-3E1383898FD9}"/>
              </a:ext>
            </a:extLst>
          </p:cNvPr>
          <p:cNvCxnSpPr>
            <a:cxnSpLocks/>
          </p:cNvCxnSpPr>
          <p:nvPr/>
        </p:nvCxnSpPr>
        <p:spPr>
          <a:xfrm>
            <a:off x="1646451" y="2420888"/>
            <a:ext cx="3384376" cy="0"/>
          </a:xfrm>
          <a:prstGeom prst="line">
            <a:avLst/>
          </a:prstGeom>
          <a:ln w="19050">
            <a:solidFill>
              <a:srgbClr val="32C3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74DF50B-0598-4BE4-A5D9-39E48505705C}"/>
              </a:ext>
            </a:extLst>
          </p:cNvPr>
          <p:cNvCxnSpPr>
            <a:cxnSpLocks/>
          </p:cNvCxnSpPr>
          <p:nvPr/>
        </p:nvCxnSpPr>
        <p:spPr>
          <a:xfrm>
            <a:off x="6744071" y="2420888"/>
            <a:ext cx="3384376" cy="0"/>
          </a:xfrm>
          <a:prstGeom prst="line">
            <a:avLst/>
          </a:prstGeom>
          <a:ln w="19050">
            <a:solidFill>
              <a:srgbClr val="32C3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771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7DE2E9-A32B-4253-BD3A-484BBC42B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959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7DE2E9-A32B-4253-BD3A-484BBC42B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DC3F8E6E-393E-42AC-BF37-5219D4FD146C}"/>
              </a:ext>
            </a:extLst>
          </p:cNvPr>
          <p:cNvSpPr/>
          <p:nvPr/>
        </p:nvSpPr>
        <p:spPr>
          <a:xfrm>
            <a:off x="1493473" y="1326995"/>
            <a:ext cx="4318601" cy="4708065"/>
          </a:xfrm>
          <a:prstGeom prst="rect">
            <a:avLst/>
          </a:prstGeom>
          <a:solidFill>
            <a:srgbClr val="2F5597">
              <a:alpha val="5882"/>
            </a:srgbClr>
          </a:solidFill>
          <a:ln w="12700">
            <a:solidFill>
              <a:srgbClr val="4D728D">
                <a:alpha val="4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FC853-3152-416C-8C98-D3A291F72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II. Metodologí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9B7F3B-D7AF-4245-8989-D1DA9AD681BF}"/>
              </a:ext>
            </a:extLst>
          </p:cNvPr>
          <p:cNvSpPr/>
          <p:nvPr/>
        </p:nvSpPr>
        <p:spPr>
          <a:xfrm>
            <a:off x="6379929" y="1326995"/>
            <a:ext cx="4318601" cy="4708065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B138F60-C1C2-4ADD-99F0-40E43666CEE9}"/>
              </a:ext>
            </a:extLst>
          </p:cNvPr>
          <p:cNvSpPr txBox="1"/>
          <p:nvPr/>
        </p:nvSpPr>
        <p:spPr>
          <a:xfrm>
            <a:off x="2830745" y="1170899"/>
            <a:ext cx="1644057" cy="297927"/>
          </a:xfrm>
          <a:prstGeom prst="rect">
            <a:avLst/>
          </a:prstGeom>
          <a:solidFill>
            <a:srgbClr val="F3F5F9"/>
          </a:solidFill>
          <a:ln w="12700">
            <a:solidFill>
              <a:srgbClr val="B1C1CE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1600" b="1" dirty="0" err="1">
                <a:solidFill>
                  <a:schemeClr val="bg1"/>
                </a:solidFill>
              </a:rPr>
              <a:t>Power</a:t>
            </a:r>
            <a:r>
              <a:rPr lang="es-ES" sz="1600" b="1" dirty="0">
                <a:solidFill>
                  <a:schemeClr val="bg1"/>
                </a:solidFill>
              </a:rPr>
              <a:t> BI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9D8DF6-66C2-4DE5-8C3E-0B1E55F0A771}"/>
              </a:ext>
            </a:extLst>
          </p:cNvPr>
          <p:cNvSpPr txBox="1"/>
          <p:nvPr/>
        </p:nvSpPr>
        <p:spPr>
          <a:xfrm>
            <a:off x="7717201" y="1170899"/>
            <a:ext cx="1644057" cy="297927"/>
          </a:xfrm>
          <a:prstGeom prst="rect">
            <a:avLst/>
          </a:prstGeom>
          <a:solidFill>
            <a:srgbClr val="FFFFFF"/>
          </a:solidFill>
          <a:ln w="12700">
            <a:solidFill>
              <a:srgbClr val="A6A6A6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ES" sz="1600" b="1" dirty="0">
                <a:solidFill>
                  <a:schemeClr val="bg1"/>
                </a:solidFill>
              </a:rPr>
              <a:t>Pyth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4CF7D3-29E2-4030-8F99-AB989975CE0E}"/>
              </a:ext>
            </a:extLst>
          </p:cNvPr>
          <p:cNvSpPr txBox="1"/>
          <p:nvPr/>
        </p:nvSpPr>
        <p:spPr>
          <a:xfrm>
            <a:off x="1714473" y="1996303"/>
            <a:ext cx="3876600" cy="336944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Conocer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la base de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dato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y hacerse una idea sobre la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información que contien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Análisi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de la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distribución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de las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variable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os datos se dividen en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80% créditos devuelto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i un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20% de impago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Al representar las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variable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categórica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, se ha visto que habían valores erróneos (</a:t>
            </a:r>
            <a:r>
              <a:rPr lang="es-ES" sz="1400" dirty="0" err="1">
                <a:solidFill>
                  <a:schemeClr val="bg1"/>
                </a:solidFill>
                <a:latin typeface="EYInterstate Light" panose="02000506000000020004" pitchFamily="2" charset="0"/>
              </a:rPr>
              <a:t>e.g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., categorías que la respuesta debería ser binaria, había valores anómalos)</a:t>
            </a:r>
            <a:endParaRPr lang="es-ES" sz="1400" dirty="0">
              <a:solidFill>
                <a:srgbClr val="32C3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AF5E77C-EBE5-4CE9-A669-1280B6B738BF}"/>
              </a:ext>
            </a:extLst>
          </p:cNvPr>
          <p:cNvSpPr txBox="1"/>
          <p:nvPr/>
        </p:nvSpPr>
        <p:spPr>
          <a:xfrm>
            <a:off x="6600929" y="1677699"/>
            <a:ext cx="3876600" cy="22460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Modelo que determine si se debe aprobar un préstamo: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Riesgo de impago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a variable a predecir </a:t>
            </a:r>
            <a:r>
              <a:rPr lang="es-ES" sz="1400" b="1" dirty="0">
                <a:solidFill>
                  <a:srgbClr val="32C3FF"/>
                </a:solidFill>
                <a:latin typeface="EYInterstate Light" panose="02000506000000020004" pitchFamily="2" charset="0"/>
              </a:rPr>
              <a:t>estado del préstamo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l modelo que mejores resultados nos ha dado ha sido el </a:t>
            </a:r>
            <a:r>
              <a:rPr lang="es-ES" sz="1400" b="1" i="1" dirty="0">
                <a:solidFill>
                  <a:srgbClr val="32C3FF"/>
                </a:solidFill>
                <a:latin typeface="EYInterstate Light" panose="02000506000000020004" pitchFamily="2" charset="0"/>
              </a:rPr>
              <a:t>light </a:t>
            </a:r>
            <a:r>
              <a:rPr lang="es-ES" sz="1400" b="1" i="1" dirty="0" err="1">
                <a:solidFill>
                  <a:srgbClr val="32C3FF"/>
                </a:solidFill>
                <a:latin typeface="EYInterstate Light" panose="02000506000000020004" pitchFamily="2" charset="0"/>
              </a:rPr>
              <a:t>gradient-boosting</a:t>
            </a:r>
            <a:r>
              <a:rPr lang="es-ES" sz="1400" b="1" i="1" dirty="0">
                <a:solidFill>
                  <a:srgbClr val="32C3FF"/>
                </a:solidFill>
                <a:latin typeface="EYInterstate Light" panose="02000506000000020004" pitchFamily="2" charset="0"/>
              </a:rPr>
              <a:t> machine</a:t>
            </a:r>
            <a:endParaRPr lang="es-ES" sz="1400" b="1" dirty="0">
              <a:solidFill>
                <a:srgbClr val="32C3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56602C9-8102-4314-9A07-F07F853C1856}"/>
              </a:ext>
            </a:extLst>
          </p:cNvPr>
          <p:cNvSpPr txBox="1"/>
          <p:nvPr/>
        </p:nvSpPr>
        <p:spPr>
          <a:xfrm>
            <a:off x="7984547" y="3789040"/>
            <a:ext cx="1109364" cy="526363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kumimoji="0" lang="es-E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D728D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lgbm</a:t>
            </a:r>
            <a:endParaRPr lang="es-ES" b="1" dirty="0">
              <a:solidFill>
                <a:srgbClr val="4D728D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86BE77D-BD19-4AB5-B4CE-E19C43FF7875}"/>
              </a:ext>
            </a:extLst>
          </p:cNvPr>
          <p:cNvGrpSpPr/>
          <p:nvPr/>
        </p:nvGrpSpPr>
        <p:grpSpPr>
          <a:xfrm>
            <a:off x="7615350" y="4509120"/>
            <a:ext cx="1847758" cy="1347357"/>
            <a:chOff x="8136674" y="4581128"/>
            <a:chExt cx="1847758" cy="134735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11A2902-CC37-4E59-9CA8-ED9802C3B041}"/>
                </a:ext>
              </a:extLst>
            </p:cNvPr>
            <p:cNvSpPr txBox="1"/>
            <p:nvPr/>
          </p:nvSpPr>
          <p:spPr>
            <a:xfrm>
              <a:off x="8136674" y="4581128"/>
              <a:ext cx="1152128" cy="1347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kumimoji="0" lang="es-ES_tradnl" sz="1400" b="1" i="0" u="none" strike="noStrike" kern="1200" cap="none" spc="0" normalizeH="0" baseline="0" dirty="0">
                  <a:ln>
                    <a:noFill/>
                  </a:ln>
                  <a:solidFill>
                    <a:srgbClr val="32C3FF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R2</a:t>
              </a:r>
              <a:r>
                <a:rPr kumimoji="0" lang="es-ES_tradnl" sz="1400" b="1" i="0" u="none" strike="noStrike" kern="120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 	</a:t>
              </a:r>
            </a:p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lang="es-ES_tradnl" sz="1400" b="1" dirty="0">
                  <a:solidFill>
                    <a:srgbClr val="32C3FF"/>
                  </a:solidFill>
                  <a:latin typeface="EYInterstate Light" panose="02000506000000020004" pitchFamily="2" charset="0"/>
                </a:rPr>
                <a:t>MSE</a:t>
              </a:r>
            </a:p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lang="es-ES_tradnl" sz="1400" b="1" dirty="0">
                  <a:solidFill>
                    <a:srgbClr val="32C3FF"/>
                  </a:solidFill>
                  <a:latin typeface="EYInterstate Light" panose="02000506000000020004" pitchFamily="2" charset="0"/>
                </a:rPr>
                <a:t>RMSE</a:t>
              </a:r>
            </a:p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kumimoji="0" lang="es-ES_tradnl" sz="1400" b="1" i="0" u="none" strike="noStrike" kern="1200" cap="none" spc="0" normalizeH="0" baseline="0" dirty="0">
                  <a:ln>
                    <a:noFill/>
                  </a:ln>
                  <a:solidFill>
                    <a:srgbClr val="32C3FF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MAE</a:t>
              </a:r>
              <a:endParaRPr kumimoji="0" lang="en-US" sz="1400" b="0" i="0" u="none" strike="noStrike" kern="1200" cap="none" spc="0" normalizeH="0" baseline="0" dirty="0">
                <a:ln>
                  <a:noFill/>
                </a:ln>
                <a:solidFill>
                  <a:srgbClr val="32C3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9FC4E7-7634-45E5-A39D-D53AF0877A13}"/>
                </a:ext>
              </a:extLst>
            </p:cNvPr>
            <p:cNvSpPr txBox="1"/>
            <p:nvPr/>
          </p:nvSpPr>
          <p:spPr>
            <a:xfrm>
              <a:off x="9216794" y="4581128"/>
              <a:ext cx="767638" cy="1347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kumimoji="0" lang="es-ES_tradnl" sz="1400" b="1" i="0" u="none" strike="noStrike" kern="120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0.95</a:t>
              </a:r>
            </a:p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lang="es-ES_tradnl" sz="1400" b="1" dirty="0">
                  <a:solidFill>
                    <a:srgbClr val="646464"/>
                  </a:solidFill>
                  <a:latin typeface="EYInterstate Light" panose="02000506000000020004" pitchFamily="2" charset="0"/>
                </a:rPr>
                <a:t>0.04</a:t>
              </a:r>
            </a:p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lang="es-ES_tradnl" sz="1400" b="1" dirty="0">
                  <a:solidFill>
                    <a:srgbClr val="646464"/>
                  </a:solidFill>
                  <a:latin typeface="EYInterstate Light" panose="02000506000000020004" pitchFamily="2" charset="0"/>
                </a:rPr>
                <a:t>0.20</a:t>
              </a:r>
            </a:p>
            <a:p>
              <a:pPr marL="0" marR="0" lvl="1" defTabSz="4572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70000"/>
                <a:tabLst/>
                <a:defRPr/>
              </a:pPr>
              <a:r>
                <a:rPr kumimoji="0" lang="es-ES_tradnl" sz="1400" b="1" i="0" u="none" strike="noStrike" kern="1200" cap="none" spc="0" normalizeH="0" baseline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0.03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73570-9A88-4C33-8CEF-AA484908C5B0}"/>
              </a:ext>
            </a:extLst>
          </p:cNvPr>
          <p:cNvCxnSpPr>
            <a:cxnSpLocks/>
          </p:cNvCxnSpPr>
          <p:nvPr/>
        </p:nvCxnSpPr>
        <p:spPr>
          <a:xfrm>
            <a:off x="7749811" y="4437112"/>
            <a:ext cx="1578837" cy="0"/>
          </a:xfrm>
          <a:prstGeom prst="line">
            <a:avLst/>
          </a:prstGeom>
          <a:ln w="19050">
            <a:solidFill>
              <a:srgbClr val="32C3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6CED5907-CF9A-428F-BA49-EDF0320B9811}"/>
              </a:ext>
            </a:extLst>
          </p:cNvPr>
          <p:cNvSpPr/>
          <p:nvPr/>
        </p:nvSpPr>
        <p:spPr>
          <a:xfrm>
            <a:off x="7464152" y="4869160"/>
            <a:ext cx="2160240" cy="936104"/>
          </a:xfrm>
          <a:prstGeom prst="rect">
            <a:avLst/>
          </a:prstGeom>
          <a:solidFill>
            <a:srgbClr val="FFFFFF">
              <a:alpha val="4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418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7DE2E9-A32B-4253-BD3A-484BBC42B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614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7DE2E9-A32B-4253-BD3A-484BBC42B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AFFC853-3152-416C-8C98-D3A291F72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III. Resultados interesant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6089033-2672-4BC3-8803-66A2EF046ACD}"/>
              </a:ext>
            </a:extLst>
          </p:cNvPr>
          <p:cNvSpPr/>
          <p:nvPr/>
        </p:nvSpPr>
        <p:spPr>
          <a:xfrm>
            <a:off x="1220097" y="2494017"/>
            <a:ext cx="591946" cy="564764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Graphic 22" descr="Earth Globe - Asia with solid fill">
            <a:extLst>
              <a:ext uri="{FF2B5EF4-FFF2-40B4-BE49-F238E27FC236}">
                <a16:creationId xmlns:a16="http://schemas.microsoft.com/office/drawing/2014/main" id="{2A6F5626-363E-44E8-9D5F-8B35AE555C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84317" y="2544646"/>
            <a:ext cx="463507" cy="46350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9F7926E7-3647-4430-B3EF-EFF7E73C4043}"/>
              </a:ext>
            </a:extLst>
          </p:cNvPr>
          <p:cNvSpPr/>
          <p:nvPr/>
        </p:nvSpPr>
        <p:spPr>
          <a:xfrm>
            <a:off x="2063552" y="2402886"/>
            <a:ext cx="8856984" cy="747029"/>
          </a:xfrm>
          <a:prstGeom prst="rect">
            <a:avLst/>
          </a:prstGeom>
          <a:solidFill>
            <a:srgbClr val="4466A2">
              <a:alpha val="7843"/>
            </a:srgbClr>
          </a:solidFill>
          <a:ln w="12700" cap="flat" cmpd="sng" algn="ctr">
            <a:solidFill>
              <a:srgbClr val="2F5597">
                <a:alpha val="30196"/>
              </a:srgbClr>
            </a:solidFill>
            <a:prstDash val="dash"/>
          </a:ln>
          <a:effectLst/>
        </p:spPr>
        <p:txBody>
          <a:bodyPr lIns="36000" rIns="36000" rtlCol="0" anchor="ctr"/>
          <a:lstStyle/>
          <a:p>
            <a:pPr marL="108000"/>
            <a:endParaRPr lang="es-ES" sz="1050" dirty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0D8FD37-7656-4B9C-B270-39A196C8EC1A}"/>
              </a:ext>
            </a:extLst>
          </p:cNvPr>
          <p:cNvSpPr/>
          <p:nvPr/>
        </p:nvSpPr>
        <p:spPr>
          <a:xfrm>
            <a:off x="2063552" y="4239090"/>
            <a:ext cx="8856984" cy="747029"/>
          </a:xfrm>
          <a:prstGeom prst="rect">
            <a:avLst/>
          </a:prstGeom>
          <a:solidFill>
            <a:srgbClr val="4466A2">
              <a:alpha val="7843"/>
            </a:srgbClr>
          </a:solidFill>
          <a:ln w="12700" cap="flat" cmpd="sng" algn="ctr">
            <a:solidFill>
              <a:srgbClr val="2F5597">
                <a:alpha val="30196"/>
              </a:srgbClr>
            </a:solidFill>
            <a:prstDash val="dash"/>
          </a:ln>
          <a:effectLst/>
        </p:spPr>
        <p:txBody>
          <a:bodyPr vert="horz" lIns="36000" rIns="36000" rtlCol="0" anchor="ctr"/>
          <a:lstStyle/>
          <a:p>
            <a:pPr marL="108000"/>
            <a:endParaRPr lang="es-ES" sz="1050" dirty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CAE7E20-B769-4676-BBE1-11A5E4044095}"/>
              </a:ext>
            </a:extLst>
          </p:cNvPr>
          <p:cNvGrpSpPr/>
          <p:nvPr/>
        </p:nvGrpSpPr>
        <p:grpSpPr>
          <a:xfrm>
            <a:off x="1220097" y="4330221"/>
            <a:ext cx="591946" cy="564764"/>
            <a:chOff x="1220097" y="4330221"/>
            <a:chExt cx="591946" cy="564764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923E0D1B-CDE3-44BB-BC62-F43E02909982}"/>
                </a:ext>
              </a:extLst>
            </p:cNvPr>
            <p:cNvSpPr/>
            <p:nvPr/>
          </p:nvSpPr>
          <p:spPr>
            <a:xfrm>
              <a:off x="1220097" y="4330221"/>
              <a:ext cx="591946" cy="564764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35C4FF"/>
              </a:solidFill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" name="Graphic 35" descr="Presentation with pie chart with solid fill">
              <a:extLst>
                <a:ext uri="{FF2B5EF4-FFF2-40B4-BE49-F238E27FC236}">
                  <a16:creationId xmlns:a16="http://schemas.microsoft.com/office/drawing/2014/main" id="{09FBDB44-55B5-46E2-A65C-6D8F50074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75656" y="4380850"/>
              <a:ext cx="480827" cy="463507"/>
            </a:xfrm>
            <a:prstGeom prst="rect">
              <a:avLst/>
            </a:prstGeom>
          </p:spPr>
        </p:pic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E85C2B49-EC89-4F48-9B1A-CF8AE65C8DD1}"/>
              </a:ext>
            </a:extLst>
          </p:cNvPr>
          <p:cNvSpPr/>
          <p:nvPr/>
        </p:nvSpPr>
        <p:spPr>
          <a:xfrm>
            <a:off x="1220097" y="1575917"/>
            <a:ext cx="591946" cy="564763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Graphic 27" descr="Factory outline">
            <a:extLst>
              <a:ext uri="{FF2B5EF4-FFF2-40B4-BE49-F238E27FC236}">
                <a16:creationId xmlns:a16="http://schemas.microsoft.com/office/drawing/2014/main" id="{C9C6ED9D-87AC-45B3-BFBB-8D7FD20ADA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293261" y="1635489"/>
            <a:ext cx="445619" cy="44561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92737D1-AA47-4CCE-AAA3-6B3835D7E8BB}"/>
              </a:ext>
            </a:extLst>
          </p:cNvPr>
          <p:cNvSpPr/>
          <p:nvPr/>
        </p:nvSpPr>
        <p:spPr>
          <a:xfrm>
            <a:off x="2063552" y="1484784"/>
            <a:ext cx="8856984" cy="747029"/>
          </a:xfrm>
          <a:prstGeom prst="rect">
            <a:avLst/>
          </a:prstGeom>
          <a:solidFill>
            <a:srgbClr val="4466A2">
              <a:alpha val="7843"/>
            </a:srgbClr>
          </a:solidFill>
          <a:ln w="12700" cap="flat" cmpd="sng" algn="ctr">
            <a:solidFill>
              <a:srgbClr val="2F5597">
                <a:alpha val="30196"/>
              </a:srgbClr>
            </a:solidFill>
            <a:prstDash val="dash"/>
          </a:ln>
          <a:effectLst/>
        </p:spPr>
        <p:txBody>
          <a:bodyPr vert="horz" lIns="36000" rIns="36000" rtlCol="0" anchor="ctr"/>
          <a:lstStyle/>
          <a:p>
            <a:pPr marL="108000"/>
            <a:endParaRPr lang="es-ES" sz="1050" dirty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9B7A933-9CD7-47CE-831E-F6156A4BA601}"/>
              </a:ext>
            </a:extLst>
          </p:cNvPr>
          <p:cNvSpPr txBox="1"/>
          <p:nvPr/>
        </p:nvSpPr>
        <p:spPr>
          <a:xfrm>
            <a:off x="2571209" y="1535485"/>
            <a:ext cx="7841671" cy="64562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as industrias dónde mayores impagos ha habido es en la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industria</a:t>
            </a:r>
            <a:r>
              <a:rPr lang="es-ES" sz="14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financiera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y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inmobiliaria,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n cambio, en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Agricultura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tienen el menor % de impago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A9CC394-7805-41C5-AE66-DD8B148A2913}"/>
              </a:ext>
            </a:extLst>
          </p:cNvPr>
          <p:cNvSpPr txBox="1"/>
          <p:nvPr/>
        </p:nvSpPr>
        <p:spPr>
          <a:xfrm>
            <a:off x="2571209" y="2465546"/>
            <a:ext cx="7841671" cy="6217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Florida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y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Nevada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entre los estados con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mayores impagos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de todos rondando un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30%</a:t>
            </a:r>
          </a:p>
          <a:p>
            <a:pPr marL="285750" indent="-285750"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os estados del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Norte Oeste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son los que menos impagos han tenido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0C15D83-F113-4231-81CB-5BB256B6BA1B}"/>
              </a:ext>
            </a:extLst>
          </p:cNvPr>
          <p:cNvSpPr/>
          <p:nvPr/>
        </p:nvSpPr>
        <p:spPr>
          <a:xfrm>
            <a:off x="1220388" y="5248323"/>
            <a:ext cx="588587" cy="564764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Graphic 25" descr="Cloud Computing with solid fill">
            <a:extLst>
              <a:ext uri="{FF2B5EF4-FFF2-40B4-BE49-F238E27FC236}">
                <a16:creationId xmlns:a16="http://schemas.microsoft.com/office/drawing/2014/main" id="{204C1285-E05B-4EEF-9B3F-B311EF0B9FC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07070" y="5309066"/>
            <a:ext cx="424031" cy="46474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C4529B4-70A7-4BDF-B46E-0788402C65F6}"/>
              </a:ext>
            </a:extLst>
          </p:cNvPr>
          <p:cNvSpPr/>
          <p:nvPr/>
        </p:nvSpPr>
        <p:spPr>
          <a:xfrm>
            <a:off x="2053478" y="5157192"/>
            <a:ext cx="8856984" cy="747029"/>
          </a:xfrm>
          <a:prstGeom prst="rect">
            <a:avLst/>
          </a:prstGeom>
          <a:solidFill>
            <a:srgbClr val="4466A2">
              <a:alpha val="7843"/>
            </a:srgbClr>
          </a:solidFill>
          <a:ln w="12700" cap="flat" cmpd="sng" algn="ctr">
            <a:solidFill>
              <a:srgbClr val="2F5597">
                <a:alpha val="30196"/>
              </a:srgbClr>
            </a:solidFill>
            <a:prstDash val="dash"/>
          </a:ln>
          <a:effectLst/>
        </p:spPr>
        <p:txBody>
          <a:bodyPr lIns="36000" rIns="36000" rtlCol="0" anchor="ctr"/>
          <a:lstStyle/>
          <a:p>
            <a:pPr marL="108000"/>
            <a:endParaRPr lang="es-ES" sz="1050" dirty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C0BA89F-05AE-4F7C-BDE3-9BC54EBBF477}"/>
              </a:ext>
            </a:extLst>
          </p:cNvPr>
          <p:cNvSpPr txBox="1"/>
          <p:nvPr/>
        </p:nvSpPr>
        <p:spPr>
          <a:xfrm>
            <a:off x="2571209" y="5207893"/>
            <a:ext cx="7841671" cy="64562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n los datos evaluados hay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más préstamos en los últimos años</a:t>
            </a:r>
            <a:r>
              <a:rPr lang="es-ES" sz="1400" b="1" dirty="0">
                <a:solidFill>
                  <a:schemeClr val="bg1"/>
                </a:solidFill>
                <a:latin typeface="EYInterstate Light" panose="02000506000000020004" pitchFamily="2" charset="0"/>
              </a:rPr>
              <a:t>,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so podría ser por el auge en la creación de nuevas empresas en los últimos años, o que había menos recolección de datos</a:t>
            </a:r>
            <a:endParaRPr lang="es-ES" sz="1400" dirty="0">
              <a:solidFill>
                <a:srgbClr val="35C4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D17E69B-AAE0-4AB4-B26C-CA882421F978}"/>
              </a:ext>
            </a:extLst>
          </p:cNvPr>
          <p:cNvSpPr txBox="1"/>
          <p:nvPr/>
        </p:nvSpPr>
        <p:spPr>
          <a:xfrm>
            <a:off x="2571209" y="4289791"/>
            <a:ext cx="7841671" cy="64562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os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negocios nuevo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, es decir, menos de 2 años, tienen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mayor número de impagos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respecto los negocios existent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CC71C93-475A-4C1D-9820-B9247CB61AEB}"/>
              </a:ext>
            </a:extLst>
          </p:cNvPr>
          <p:cNvSpPr/>
          <p:nvPr/>
        </p:nvSpPr>
        <p:spPr>
          <a:xfrm>
            <a:off x="2062364" y="3320988"/>
            <a:ext cx="8856984" cy="747029"/>
          </a:xfrm>
          <a:prstGeom prst="rect">
            <a:avLst/>
          </a:prstGeom>
          <a:solidFill>
            <a:srgbClr val="4466A2">
              <a:alpha val="7843"/>
            </a:srgbClr>
          </a:solidFill>
          <a:ln w="12700" cap="flat" cmpd="sng" algn="ctr">
            <a:solidFill>
              <a:srgbClr val="2F5597">
                <a:alpha val="30196"/>
              </a:srgbClr>
            </a:solidFill>
            <a:prstDash val="dash"/>
          </a:ln>
          <a:effectLst/>
        </p:spPr>
        <p:txBody>
          <a:bodyPr vert="horz" lIns="36000" rIns="36000" rtlCol="0" anchor="ctr"/>
          <a:lstStyle/>
          <a:p>
            <a:pPr marL="108000"/>
            <a:endParaRPr lang="es-ES" sz="1050" dirty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84FA877-95F5-4C48-89F8-092E88B941B8}"/>
              </a:ext>
            </a:extLst>
          </p:cNvPr>
          <p:cNvSpPr/>
          <p:nvPr/>
        </p:nvSpPr>
        <p:spPr>
          <a:xfrm>
            <a:off x="1219200" y="3412120"/>
            <a:ext cx="588587" cy="564764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8" name="Graphic 37" descr="Pie chart outline">
            <a:extLst>
              <a:ext uri="{FF2B5EF4-FFF2-40B4-BE49-F238E27FC236}">
                <a16:creationId xmlns:a16="http://schemas.microsoft.com/office/drawing/2014/main" id="{E91D1928-9580-4A87-A473-C4CDE0710AF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1305882" y="3493221"/>
            <a:ext cx="424031" cy="424031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3B2FCB14-5E21-4C26-A094-CF59E9CC2AB4}"/>
              </a:ext>
            </a:extLst>
          </p:cNvPr>
          <p:cNvSpPr txBox="1"/>
          <p:nvPr/>
        </p:nvSpPr>
        <p:spPr>
          <a:xfrm>
            <a:off x="2570021" y="3371689"/>
            <a:ext cx="7841671" cy="64562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  <a:buFont typeface="Arial" panose="020B0604020202020204" pitchFamily="34" charset="0"/>
              <a:buChar char="►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Hay un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indicador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que indica la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cantidad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que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garantiza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el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SBA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en caso de impago, este es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menor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en préstamos que han sido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impagos</a:t>
            </a:r>
          </a:p>
        </p:txBody>
      </p:sp>
    </p:spTree>
    <p:extLst>
      <p:ext uri="{BB962C8B-B14F-4D97-AF65-F5344CB8AC3E}">
        <p14:creationId xmlns:p14="http://schemas.microsoft.com/office/powerpoint/2010/main" val="347830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7DE2E9-A32B-4253-BD3A-484BBC42B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165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7DE2E9-A32B-4253-BD3A-484BBC42B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AFFC853-3152-416C-8C98-D3A291F72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IV. Conclusione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3A04236-59FF-43CA-B58A-60440E9A3682}"/>
              </a:ext>
            </a:extLst>
          </p:cNvPr>
          <p:cNvSpPr/>
          <p:nvPr/>
        </p:nvSpPr>
        <p:spPr>
          <a:xfrm>
            <a:off x="1748508" y="1535333"/>
            <a:ext cx="787881" cy="75169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Graphic 14" descr="Factory outline">
            <a:extLst>
              <a:ext uri="{FF2B5EF4-FFF2-40B4-BE49-F238E27FC236}">
                <a16:creationId xmlns:a16="http://schemas.microsoft.com/office/drawing/2014/main" id="{580E9095-5413-447E-B4DA-678D640EF9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872849" y="1641583"/>
            <a:ext cx="539199" cy="539199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D432D25-D859-4DA3-B5EF-1677E84F2399}"/>
              </a:ext>
            </a:extLst>
          </p:cNvPr>
          <p:cNvCxnSpPr>
            <a:cxnSpLocks/>
          </p:cNvCxnSpPr>
          <p:nvPr/>
        </p:nvCxnSpPr>
        <p:spPr>
          <a:xfrm>
            <a:off x="1580006" y="2636912"/>
            <a:ext cx="1124885" cy="0"/>
          </a:xfrm>
          <a:prstGeom prst="line">
            <a:avLst/>
          </a:prstGeom>
          <a:ln w="19050">
            <a:solidFill>
              <a:srgbClr val="32C3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545B85D-9D27-40D5-8705-947A4DE6700E}"/>
              </a:ext>
            </a:extLst>
          </p:cNvPr>
          <p:cNvSpPr txBox="1"/>
          <p:nvPr/>
        </p:nvSpPr>
        <p:spPr>
          <a:xfrm>
            <a:off x="1098332" y="3068960"/>
            <a:ext cx="2088232" cy="161512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a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Industria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puede ser un buen indicador ya que el riesgo en el sector financiero es mayor que en otros sector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4B0E9D8-C878-4D83-97CF-3EA2C5E630F1}"/>
              </a:ext>
            </a:extLst>
          </p:cNvPr>
          <p:cNvSpPr/>
          <p:nvPr/>
        </p:nvSpPr>
        <p:spPr>
          <a:xfrm>
            <a:off x="4385329" y="1535332"/>
            <a:ext cx="787881" cy="75170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Graphic 12" descr="Earth Globe - Asia with solid fill">
            <a:extLst>
              <a:ext uri="{FF2B5EF4-FFF2-40B4-BE49-F238E27FC236}">
                <a16:creationId xmlns:a16="http://schemas.microsoft.com/office/drawing/2014/main" id="{92DF43DC-2F20-41AF-B5A4-5D757BA619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498847" y="1630760"/>
            <a:ext cx="560844" cy="560844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B2FA4BE-ACDF-4058-A1B1-9BB0B3DB15E9}"/>
              </a:ext>
            </a:extLst>
          </p:cNvPr>
          <p:cNvCxnSpPr>
            <a:cxnSpLocks/>
          </p:cNvCxnSpPr>
          <p:nvPr/>
        </p:nvCxnSpPr>
        <p:spPr>
          <a:xfrm>
            <a:off x="4215707" y="2636912"/>
            <a:ext cx="1124885" cy="0"/>
          </a:xfrm>
          <a:prstGeom prst="line">
            <a:avLst/>
          </a:prstGeom>
          <a:ln w="19050">
            <a:solidFill>
              <a:srgbClr val="32C3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56A1913C-39DE-4688-8E18-325027494AAA}"/>
              </a:ext>
            </a:extLst>
          </p:cNvPr>
          <p:cNvSpPr txBox="1"/>
          <p:nvPr/>
        </p:nvSpPr>
        <p:spPr>
          <a:xfrm>
            <a:off x="3734033" y="3068960"/>
            <a:ext cx="2088232" cy="161512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as diferencias económicas de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estado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a estado también pueden influir a la hora de que no se devuelva un crédito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77313F6-0E0B-44EC-8929-6C65B75FCC34}"/>
              </a:ext>
            </a:extLst>
          </p:cNvPr>
          <p:cNvSpPr/>
          <p:nvPr/>
        </p:nvSpPr>
        <p:spPr>
          <a:xfrm>
            <a:off x="9657271" y="1535332"/>
            <a:ext cx="783410" cy="75170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Graphic 16" descr="Pie chart outline">
            <a:extLst>
              <a:ext uri="{FF2B5EF4-FFF2-40B4-BE49-F238E27FC236}">
                <a16:creationId xmlns:a16="http://schemas.microsoft.com/office/drawing/2014/main" id="{B8FD9597-1D29-4007-94AC-60706D97A6D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9796842" y="1665378"/>
            <a:ext cx="513077" cy="513077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A5CDAFF-C83A-4755-9843-C8E90EBAEA02}"/>
              </a:ext>
            </a:extLst>
          </p:cNvPr>
          <p:cNvCxnSpPr>
            <a:cxnSpLocks/>
          </p:cNvCxnSpPr>
          <p:nvPr/>
        </p:nvCxnSpPr>
        <p:spPr>
          <a:xfrm>
            <a:off x="9485974" y="2636912"/>
            <a:ext cx="1124885" cy="0"/>
          </a:xfrm>
          <a:prstGeom prst="line">
            <a:avLst/>
          </a:prstGeom>
          <a:ln w="19050">
            <a:solidFill>
              <a:srgbClr val="32C3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B77CE0F3-26B6-428F-B7CE-B71123775EE0}"/>
              </a:ext>
            </a:extLst>
          </p:cNvPr>
          <p:cNvSpPr txBox="1"/>
          <p:nvPr/>
        </p:nvSpPr>
        <p:spPr>
          <a:xfrm>
            <a:off x="9004300" y="3068960"/>
            <a:ext cx="2088232" cy="161512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os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negocios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 que llevan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menos de dos años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es más probable que fracasen que los ya establecido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B03CE3D-72D2-4B83-B2C5-774E5C7124A5}"/>
              </a:ext>
            </a:extLst>
          </p:cNvPr>
          <p:cNvSpPr/>
          <p:nvPr/>
        </p:nvSpPr>
        <p:spPr>
          <a:xfrm>
            <a:off x="7019910" y="1535332"/>
            <a:ext cx="787881" cy="75170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35C4FF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Graphic 25" descr="Presentation with pie chart with solid fill">
            <a:extLst>
              <a:ext uri="{FF2B5EF4-FFF2-40B4-BE49-F238E27FC236}">
                <a16:creationId xmlns:a16="http://schemas.microsoft.com/office/drawing/2014/main" id="{090C9651-070D-416B-A229-EF54112E5D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122949" y="1630760"/>
            <a:ext cx="581801" cy="560844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2B1D29A-5818-4040-B926-31A31E7483D5}"/>
              </a:ext>
            </a:extLst>
          </p:cNvPr>
          <p:cNvCxnSpPr>
            <a:cxnSpLocks/>
          </p:cNvCxnSpPr>
          <p:nvPr/>
        </p:nvCxnSpPr>
        <p:spPr>
          <a:xfrm>
            <a:off x="6851408" y="2636912"/>
            <a:ext cx="1124885" cy="0"/>
          </a:xfrm>
          <a:prstGeom prst="line">
            <a:avLst/>
          </a:prstGeom>
          <a:ln w="19050">
            <a:solidFill>
              <a:srgbClr val="32C3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B87AAF-2731-4974-A309-14D9600BA1A0}"/>
              </a:ext>
            </a:extLst>
          </p:cNvPr>
          <p:cNvSpPr txBox="1"/>
          <p:nvPr/>
        </p:nvSpPr>
        <p:spPr>
          <a:xfrm>
            <a:off x="6369734" y="3068960"/>
            <a:ext cx="2088232" cy="226145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  <a:buClr>
                <a:srgbClr val="32C3FF"/>
              </a:buClr>
              <a:buSzPct val="70000"/>
            </a:pP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Los préstamos de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mayor cantidad 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son más complicados de devolver, aquellos en que la </a:t>
            </a:r>
            <a:r>
              <a:rPr lang="es-ES" sz="1400" b="1" dirty="0">
                <a:solidFill>
                  <a:srgbClr val="35C4FF"/>
                </a:solidFill>
                <a:latin typeface="EYInterstate Light" panose="02000506000000020004" pitchFamily="2" charset="0"/>
              </a:rPr>
              <a:t>SBA garantiza mayor parte</a:t>
            </a:r>
            <a:r>
              <a:rPr lang="es-ES" sz="1400" dirty="0">
                <a:solidFill>
                  <a:schemeClr val="bg1"/>
                </a:solidFill>
                <a:latin typeface="EYInterstate Light" panose="02000506000000020004" pitchFamily="2" charset="0"/>
              </a:rPr>
              <a:t>, también puede ser que estén más evaluados</a:t>
            </a:r>
          </a:p>
        </p:txBody>
      </p:sp>
    </p:spTree>
    <p:extLst>
      <p:ext uri="{BB962C8B-B14F-4D97-AF65-F5344CB8AC3E}">
        <p14:creationId xmlns:p14="http://schemas.microsoft.com/office/powerpoint/2010/main" val="15533864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7DE2E9-A32B-4253-BD3A-484BBC42B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139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7DE2E9-A32B-4253-BD3A-484BBC42B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Group 36">
            <a:extLst>
              <a:ext uri="{FF2B5EF4-FFF2-40B4-BE49-F238E27FC236}">
                <a16:creationId xmlns:a16="http://schemas.microsoft.com/office/drawing/2014/main" id="{94382B67-9B32-43F3-BB35-E1203ED1BC67}"/>
              </a:ext>
            </a:extLst>
          </p:cNvPr>
          <p:cNvGrpSpPr/>
          <p:nvPr/>
        </p:nvGrpSpPr>
        <p:grpSpPr>
          <a:xfrm>
            <a:off x="2189796" y="1626191"/>
            <a:ext cx="7812409" cy="1802809"/>
            <a:chOff x="2189796" y="1626191"/>
            <a:chExt cx="7812409" cy="1802809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064E22D2-539B-499C-A2CF-2B8BEFAD6E1A}"/>
                </a:ext>
              </a:extLst>
            </p:cNvPr>
            <p:cNvGrpSpPr/>
            <p:nvPr/>
          </p:nvGrpSpPr>
          <p:grpSpPr>
            <a:xfrm>
              <a:off x="5734050" y="2705100"/>
              <a:ext cx="723900" cy="723900"/>
              <a:chOff x="5734050" y="2705100"/>
              <a:chExt cx="723900" cy="723900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075B1769-ED8F-4E5B-97E7-0F4686E8C13B}"/>
                  </a:ext>
                </a:extLst>
              </p:cNvPr>
              <p:cNvSpPr/>
              <p:nvPr/>
            </p:nvSpPr>
            <p:spPr>
              <a:xfrm>
                <a:off x="5886450" y="2952750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solidFill>
                <a:srgbClr val="32C3FF"/>
              </a:solidFill>
              <a:ln w="9525" cap="flat">
                <a:solidFill>
                  <a:srgbClr val="32C3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BB648BB-8A96-4E83-9E55-FD829EC82588}"/>
                  </a:ext>
                </a:extLst>
              </p:cNvPr>
              <p:cNvSpPr/>
              <p:nvPr/>
            </p:nvSpPr>
            <p:spPr>
              <a:xfrm>
                <a:off x="6191250" y="2952750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solidFill>
                <a:srgbClr val="32C3FF"/>
              </a:solidFill>
              <a:ln w="9525" cap="flat">
                <a:solidFill>
                  <a:srgbClr val="32C3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33D60CD-AF8E-478A-A9AD-BB7CC0689341}"/>
                  </a:ext>
                </a:extLst>
              </p:cNvPr>
              <p:cNvSpPr/>
              <p:nvPr/>
            </p:nvSpPr>
            <p:spPr>
              <a:xfrm>
                <a:off x="5903594" y="3190875"/>
                <a:ext cx="384809" cy="123825"/>
              </a:xfrm>
              <a:custGeom>
                <a:avLst/>
                <a:gdLst>
                  <a:gd name="connsiteX0" fmla="*/ 365760 w 384809"/>
                  <a:gd name="connsiteY0" fmla="*/ 0 h 123825"/>
                  <a:gd name="connsiteX1" fmla="*/ 350520 w 384809"/>
                  <a:gd name="connsiteY1" fmla="*/ 7620 h 123825"/>
                  <a:gd name="connsiteX2" fmla="*/ 192405 w 384809"/>
                  <a:gd name="connsiteY2" fmla="*/ 84773 h 123825"/>
                  <a:gd name="connsiteX3" fmla="*/ 34290 w 384809"/>
                  <a:gd name="connsiteY3" fmla="*/ 7620 h 123825"/>
                  <a:gd name="connsiteX4" fmla="*/ 19050 w 384809"/>
                  <a:gd name="connsiteY4" fmla="*/ 0 h 123825"/>
                  <a:gd name="connsiteX5" fmla="*/ 0 w 384809"/>
                  <a:gd name="connsiteY5" fmla="*/ 19050 h 123825"/>
                  <a:gd name="connsiteX6" fmla="*/ 3810 w 384809"/>
                  <a:gd name="connsiteY6" fmla="*/ 30480 h 123825"/>
                  <a:gd name="connsiteX7" fmla="*/ 192405 w 384809"/>
                  <a:gd name="connsiteY7" fmla="*/ 123825 h 123825"/>
                  <a:gd name="connsiteX8" fmla="*/ 381000 w 384809"/>
                  <a:gd name="connsiteY8" fmla="*/ 30480 h 123825"/>
                  <a:gd name="connsiteX9" fmla="*/ 384810 w 384809"/>
                  <a:gd name="connsiteY9" fmla="*/ 19050 h 123825"/>
                  <a:gd name="connsiteX10" fmla="*/ 365760 w 384809"/>
                  <a:gd name="connsiteY10" fmla="*/ 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4809" h="123825">
                    <a:moveTo>
                      <a:pt x="365760" y="0"/>
                    </a:moveTo>
                    <a:cubicBezTo>
                      <a:pt x="359093" y="0"/>
                      <a:pt x="353378" y="2857"/>
                      <a:pt x="350520" y="7620"/>
                    </a:cubicBezTo>
                    <a:cubicBezTo>
                      <a:pt x="314325" y="55245"/>
                      <a:pt x="257175" y="84773"/>
                      <a:pt x="192405" y="84773"/>
                    </a:cubicBezTo>
                    <a:cubicBezTo>
                      <a:pt x="127635" y="84773"/>
                      <a:pt x="71438" y="55245"/>
                      <a:pt x="34290" y="7620"/>
                    </a:cubicBezTo>
                    <a:cubicBezTo>
                      <a:pt x="30480" y="2857"/>
                      <a:pt x="24765" y="0"/>
                      <a:pt x="19050" y="0"/>
                    </a:cubicBezTo>
                    <a:cubicBezTo>
                      <a:pt x="8573" y="0"/>
                      <a:pt x="0" y="8573"/>
                      <a:pt x="0" y="19050"/>
                    </a:cubicBezTo>
                    <a:cubicBezTo>
                      <a:pt x="0" y="22860"/>
                      <a:pt x="953" y="26670"/>
                      <a:pt x="3810" y="30480"/>
                    </a:cubicBezTo>
                    <a:cubicBezTo>
                      <a:pt x="47625" y="87630"/>
                      <a:pt x="115253" y="123825"/>
                      <a:pt x="192405" y="123825"/>
                    </a:cubicBezTo>
                    <a:cubicBezTo>
                      <a:pt x="269558" y="123825"/>
                      <a:pt x="337185" y="87630"/>
                      <a:pt x="381000" y="30480"/>
                    </a:cubicBezTo>
                    <a:cubicBezTo>
                      <a:pt x="382905" y="27623"/>
                      <a:pt x="384810" y="23813"/>
                      <a:pt x="384810" y="19050"/>
                    </a:cubicBezTo>
                    <a:cubicBezTo>
                      <a:pt x="384810" y="8573"/>
                      <a:pt x="376238" y="0"/>
                      <a:pt x="365760" y="0"/>
                    </a:cubicBezTo>
                    <a:close/>
                  </a:path>
                </a:pathLst>
              </a:custGeom>
              <a:solidFill>
                <a:srgbClr val="32C3FF"/>
              </a:solidFill>
              <a:ln w="9525" cap="flat">
                <a:solidFill>
                  <a:srgbClr val="32C3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5A1BE556-5764-4E6E-83B2-43A5071109D0}"/>
                  </a:ext>
                </a:extLst>
              </p:cNvPr>
              <p:cNvSpPr/>
              <p:nvPr/>
            </p:nvSpPr>
            <p:spPr>
              <a:xfrm>
                <a:off x="5734050" y="2705100"/>
                <a:ext cx="723900" cy="723900"/>
              </a:xfrm>
              <a:custGeom>
                <a:avLst/>
                <a:gdLst>
                  <a:gd name="connsiteX0" fmla="*/ 361950 w 723900"/>
                  <a:gd name="connsiteY0" fmla="*/ 38100 h 723900"/>
                  <a:gd name="connsiteX1" fmla="*/ 685800 w 723900"/>
                  <a:gd name="connsiteY1" fmla="*/ 361950 h 723900"/>
                  <a:gd name="connsiteX2" fmla="*/ 361950 w 723900"/>
                  <a:gd name="connsiteY2" fmla="*/ 685800 h 723900"/>
                  <a:gd name="connsiteX3" fmla="*/ 38100 w 723900"/>
                  <a:gd name="connsiteY3" fmla="*/ 361950 h 723900"/>
                  <a:gd name="connsiteX4" fmla="*/ 361950 w 723900"/>
                  <a:gd name="connsiteY4" fmla="*/ 38100 h 723900"/>
                  <a:gd name="connsiteX5" fmla="*/ 361950 w 723900"/>
                  <a:gd name="connsiteY5" fmla="*/ 0 h 723900"/>
                  <a:gd name="connsiteX6" fmla="*/ 0 w 723900"/>
                  <a:gd name="connsiteY6" fmla="*/ 361950 h 723900"/>
                  <a:gd name="connsiteX7" fmla="*/ 361950 w 723900"/>
                  <a:gd name="connsiteY7" fmla="*/ 723900 h 723900"/>
                  <a:gd name="connsiteX8" fmla="*/ 723900 w 723900"/>
                  <a:gd name="connsiteY8" fmla="*/ 361950 h 723900"/>
                  <a:gd name="connsiteX9" fmla="*/ 361950 w 723900"/>
                  <a:gd name="connsiteY9" fmla="*/ 0 h 723900"/>
                  <a:gd name="connsiteX10" fmla="*/ 361950 w 723900"/>
                  <a:gd name="connsiteY10" fmla="*/ 0 h 723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23900" h="723900">
                    <a:moveTo>
                      <a:pt x="361950" y="38100"/>
                    </a:moveTo>
                    <a:cubicBezTo>
                      <a:pt x="540068" y="38100"/>
                      <a:pt x="685800" y="183833"/>
                      <a:pt x="685800" y="361950"/>
                    </a:cubicBezTo>
                    <a:cubicBezTo>
                      <a:pt x="685800" y="540068"/>
                      <a:pt x="540068" y="685800"/>
                      <a:pt x="361950" y="685800"/>
                    </a:cubicBezTo>
                    <a:cubicBezTo>
                      <a:pt x="183833" y="685800"/>
                      <a:pt x="38100" y="540068"/>
                      <a:pt x="38100" y="361950"/>
                    </a:cubicBezTo>
                    <a:cubicBezTo>
                      <a:pt x="38100" y="183833"/>
                      <a:pt x="183833" y="38100"/>
                      <a:pt x="361950" y="38100"/>
                    </a:cubicBezTo>
                    <a:moveTo>
                      <a:pt x="361950" y="0"/>
                    </a:moveTo>
                    <a:cubicBezTo>
                      <a:pt x="161925" y="0"/>
                      <a:pt x="0" y="161925"/>
                      <a:pt x="0" y="361950"/>
                    </a:cubicBezTo>
                    <a:cubicBezTo>
                      <a:pt x="0" y="561975"/>
                      <a:pt x="161925" y="723900"/>
                      <a:pt x="361950" y="723900"/>
                    </a:cubicBezTo>
                    <a:cubicBezTo>
                      <a:pt x="561975" y="723900"/>
                      <a:pt x="723900" y="561975"/>
                      <a:pt x="723900" y="361950"/>
                    </a:cubicBezTo>
                    <a:cubicBezTo>
                      <a:pt x="723900" y="161925"/>
                      <a:pt x="561975" y="0"/>
                      <a:pt x="361950" y="0"/>
                    </a:cubicBezTo>
                    <a:lnTo>
                      <a:pt x="361950" y="0"/>
                    </a:lnTo>
                    <a:close/>
                  </a:path>
                </a:pathLst>
              </a:custGeom>
              <a:solidFill>
                <a:srgbClr val="32C3FF"/>
              </a:solidFill>
              <a:ln w="9525" cap="flat">
                <a:solidFill>
                  <a:srgbClr val="32C3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s-E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09B5AFA-795A-4896-8E67-D314E9E638A0}"/>
                </a:ext>
              </a:extLst>
            </p:cNvPr>
            <p:cNvSpPr/>
            <p:nvPr/>
          </p:nvSpPr>
          <p:spPr>
            <a:xfrm>
              <a:off x="2189796" y="1626191"/>
              <a:ext cx="7812409" cy="83602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kumimoji="0" lang="es-ES" sz="4400" b="0" i="0" u="none" strike="noStrike" kern="1200" cap="none" spc="0" normalizeH="0" baseline="0" noProof="0" dirty="0">
                  <a:ln>
                    <a:noFill/>
                  </a:ln>
                  <a:solidFill>
                    <a:srgbClr val="32C3FF"/>
                  </a:solidFill>
                  <a:effectLst/>
                  <a:uLnTx/>
                  <a:uFillTx/>
                  <a:latin typeface="EYInterstate" panose="02000503020000020004" pitchFamily="2" charset="0"/>
                  <a:ea typeface="+mj-ea"/>
                  <a:cs typeface="Arial" pitchFamily="34" charset="0"/>
                </a:rPr>
                <a:t>Gracias por vuestra atención</a:t>
              </a:r>
              <a:endParaRPr lang="es-ES" sz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8735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B1D_OQCmtUOunyQ0d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heme/theme1.xml><?xml version="1.0" encoding="utf-8"?>
<a:theme xmlns:a="http://schemas.openxmlformats.org/drawingml/2006/main" name="3_EY widescreen presentation 2015 v1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Custom 2">
      <a:majorFont>
        <a:latin typeface="EYInterstate"/>
        <a:ea typeface=""/>
        <a:cs typeface=""/>
      </a:majorFont>
      <a:minorFont>
        <a:latin typeface="EYIntersta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6"/>
          </a:solidFill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63</TotalTime>
  <Words>616</Words>
  <Application>Microsoft Office PowerPoint</Application>
  <PresentationFormat>Widescreen</PresentationFormat>
  <Paragraphs>73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EYInterstate</vt:lpstr>
      <vt:lpstr>EYInterstate Light</vt:lpstr>
      <vt:lpstr>3_EY widescreen presentation 2015 v1</vt:lpstr>
      <vt:lpstr>think-cell Slide</vt:lpstr>
      <vt:lpstr>PowerPoint Presentation</vt:lpstr>
      <vt:lpstr>Índice</vt:lpstr>
      <vt:lpstr>I. Contexto y objetivos del proyecto</vt:lpstr>
      <vt:lpstr>II. Metodología</vt:lpstr>
      <vt:lpstr>III. Resultados interesantes</vt:lpstr>
      <vt:lpstr>IV. Conclusion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n Viladomiu Tora</dc:creator>
  <cp:lastModifiedBy>Joan Viladomiu Tora</cp:lastModifiedBy>
  <cp:revision>1</cp:revision>
  <dcterms:created xsi:type="dcterms:W3CDTF">2022-12-06T15:39:06Z</dcterms:created>
  <dcterms:modified xsi:type="dcterms:W3CDTF">2022-12-22T16:20:43Z</dcterms:modified>
</cp:coreProperties>
</file>